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4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5.xml" ContentType="application/vnd.openxmlformats-officedocument.theme+xml"/>
  <Override PartName="/ppt/tags/tag199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795" r:id="rId5"/>
    <p:sldMasterId id="2147483859" r:id="rId6"/>
    <p:sldMasterId id="2147483876" r:id="rId7"/>
    <p:sldMasterId id="2147483933" r:id="rId8"/>
    <p:sldMasterId id="2147483977" r:id="rId9"/>
  </p:sldMasterIdLst>
  <p:notesMasterIdLst>
    <p:notesMasterId r:id="rId22"/>
  </p:notesMasterIdLst>
  <p:handoutMasterIdLst>
    <p:handoutMasterId r:id="rId23"/>
  </p:handoutMasterIdLst>
  <p:sldIdLst>
    <p:sldId id="2147472575" r:id="rId10"/>
    <p:sldId id="281" r:id="rId11"/>
    <p:sldId id="2147472576" r:id="rId12"/>
    <p:sldId id="2147472581" r:id="rId13"/>
    <p:sldId id="2147472582" r:id="rId14"/>
    <p:sldId id="2147472583" r:id="rId15"/>
    <p:sldId id="2147472584" r:id="rId16"/>
    <p:sldId id="2147472585" r:id="rId17"/>
    <p:sldId id="2147472586" r:id="rId18"/>
    <p:sldId id="2147472587" r:id="rId19"/>
    <p:sldId id="2147472588" r:id="rId20"/>
    <p:sldId id="493" r:id="rId21"/>
  </p:sldIdLst>
  <p:sldSz cx="12192000" cy="6858000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B3B3B3"/>
    <a:srgbClr val="701EEA"/>
    <a:srgbClr val="1ABFF6"/>
    <a:srgbClr val="333333"/>
    <a:srgbClr val="00338D"/>
    <a:srgbClr val="7213EA"/>
    <a:srgbClr val="0C233C"/>
    <a:srgbClr val="00B8F5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73E246-75C7-424F-A1A2-11D565F5C972}" v="32" dt="2023-04-14T22:36:38.8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55" autoAdjust="0"/>
    <p:restoredTop sz="96357" autoAdjust="0"/>
  </p:normalViewPr>
  <p:slideViewPr>
    <p:cSldViewPr snapToGrid="0">
      <p:cViewPr varScale="1">
        <p:scale>
          <a:sx n="63" d="100"/>
          <a:sy n="63" d="100"/>
        </p:scale>
        <p:origin x="99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0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C54D5F6-3183-428A-85C8-51C26DD4B5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608F93-CC89-4063-A187-7B1597877F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BABA84C-EC3E-4598-9C4D-8CE1D2A956F5}" type="datetimeFigureOut">
              <a:rPr lang="en-GB" smtClean="0">
                <a:latin typeface="Arial" panose="020B0604020202020204" pitchFamily="34" charset="0"/>
              </a:rPr>
              <a:t>14/04/2023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D309-D941-4AA7-AD70-D334F1D592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99044-B362-4E47-A054-164531AC8F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0C0F9D0-9E03-483D-AC3B-FCB5CBA393CA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302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C57A4BF-14E0-48E2-B42F-B29D277000AB}" type="datetimeFigureOut">
              <a:rPr lang="en-GB" smtClean="0"/>
              <a:pPr/>
              <a:t>14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B5D948F-A673-4DC7-A0E9-FA274EAF36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308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5D948F-A673-4DC7-A0E9-FA274EAF36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519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5D948F-A673-4DC7-A0E9-FA274EAF36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519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15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4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image" Target="../media/image14.emf"/><Relationship Id="rId1" Type="http://schemas.openxmlformats.org/officeDocument/2006/relationships/vmlDrawing" Target="../drawings/vmlDrawing8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6" Type="http://schemas.openxmlformats.org/officeDocument/2006/relationships/tags" Target="../tags/tag74.xml"/><Relationship Id="rId117" Type="http://schemas.openxmlformats.org/officeDocument/2006/relationships/tags" Target="../tags/tag165.xml"/><Relationship Id="rId21" Type="http://schemas.openxmlformats.org/officeDocument/2006/relationships/tags" Target="../tags/tag69.xml"/><Relationship Id="rId42" Type="http://schemas.openxmlformats.org/officeDocument/2006/relationships/tags" Target="../tags/tag90.xml"/><Relationship Id="rId47" Type="http://schemas.openxmlformats.org/officeDocument/2006/relationships/tags" Target="../tags/tag95.xml"/><Relationship Id="rId63" Type="http://schemas.openxmlformats.org/officeDocument/2006/relationships/tags" Target="../tags/tag111.xml"/><Relationship Id="rId68" Type="http://schemas.openxmlformats.org/officeDocument/2006/relationships/tags" Target="../tags/tag116.xml"/><Relationship Id="rId84" Type="http://schemas.openxmlformats.org/officeDocument/2006/relationships/tags" Target="../tags/tag132.xml"/><Relationship Id="rId89" Type="http://schemas.openxmlformats.org/officeDocument/2006/relationships/tags" Target="../tags/tag137.xml"/><Relationship Id="rId112" Type="http://schemas.openxmlformats.org/officeDocument/2006/relationships/tags" Target="../tags/tag160.xml"/><Relationship Id="rId16" Type="http://schemas.openxmlformats.org/officeDocument/2006/relationships/tags" Target="../tags/tag64.xml"/><Relationship Id="rId107" Type="http://schemas.openxmlformats.org/officeDocument/2006/relationships/tags" Target="../tags/tag155.xml"/><Relationship Id="rId11" Type="http://schemas.openxmlformats.org/officeDocument/2006/relationships/tags" Target="../tags/tag59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53" Type="http://schemas.openxmlformats.org/officeDocument/2006/relationships/tags" Target="../tags/tag101.xml"/><Relationship Id="rId58" Type="http://schemas.openxmlformats.org/officeDocument/2006/relationships/tags" Target="../tags/tag106.xml"/><Relationship Id="rId74" Type="http://schemas.openxmlformats.org/officeDocument/2006/relationships/tags" Target="../tags/tag122.xml"/><Relationship Id="rId79" Type="http://schemas.openxmlformats.org/officeDocument/2006/relationships/tags" Target="../tags/tag127.xml"/><Relationship Id="rId102" Type="http://schemas.openxmlformats.org/officeDocument/2006/relationships/tags" Target="../tags/tag150.xml"/><Relationship Id="rId123" Type="http://schemas.openxmlformats.org/officeDocument/2006/relationships/tags" Target="../tags/tag171.xml"/><Relationship Id="rId5" Type="http://schemas.openxmlformats.org/officeDocument/2006/relationships/tags" Target="../tags/tag53.xml"/><Relationship Id="rId90" Type="http://schemas.openxmlformats.org/officeDocument/2006/relationships/tags" Target="../tags/tag138.xml"/><Relationship Id="rId95" Type="http://schemas.openxmlformats.org/officeDocument/2006/relationships/tags" Target="../tags/tag143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43" Type="http://schemas.openxmlformats.org/officeDocument/2006/relationships/tags" Target="../tags/tag91.xml"/><Relationship Id="rId48" Type="http://schemas.openxmlformats.org/officeDocument/2006/relationships/tags" Target="../tags/tag96.xml"/><Relationship Id="rId64" Type="http://schemas.openxmlformats.org/officeDocument/2006/relationships/tags" Target="../tags/tag112.xml"/><Relationship Id="rId69" Type="http://schemas.openxmlformats.org/officeDocument/2006/relationships/tags" Target="../tags/tag117.xml"/><Relationship Id="rId113" Type="http://schemas.openxmlformats.org/officeDocument/2006/relationships/tags" Target="../tags/tag161.xml"/><Relationship Id="rId118" Type="http://schemas.openxmlformats.org/officeDocument/2006/relationships/tags" Target="../tags/tag166.xml"/><Relationship Id="rId80" Type="http://schemas.openxmlformats.org/officeDocument/2006/relationships/tags" Target="../tags/tag128.xml"/><Relationship Id="rId85" Type="http://schemas.openxmlformats.org/officeDocument/2006/relationships/tags" Target="../tags/tag133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59" Type="http://schemas.openxmlformats.org/officeDocument/2006/relationships/tags" Target="../tags/tag107.xml"/><Relationship Id="rId103" Type="http://schemas.openxmlformats.org/officeDocument/2006/relationships/tags" Target="../tags/tag151.xml"/><Relationship Id="rId108" Type="http://schemas.openxmlformats.org/officeDocument/2006/relationships/tags" Target="../tags/tag156.xml"/><Relationship Id="rId124" Type="http://schemas.openxmlformats.org/officeDocument/2006/relationships/tags" Target="../tags/tag172.xml"/><Relationship Id="rId54" Type="http://schemas.openxmlformats.org/officeDocument/2006/relationships/tags" Target="../tags/tag102.xml"/><Relationship Id="rId70" Type="http://schemas.openxmlformats.org/officeDocument/2006/relationships/tags" Target="../tags/tag118.xml"/><Relationship Id="rId75" Type="http://schemas.openxmlformats.org/officeDocument/2006/relationships/tags" Target="../tags/tag123.xml"/><Relationship Id="rId91" Type="http://schemas.openxmlformats.org/officeDocument/2006/relationships/tags" Target="../tags/tag139.xml"/><Relationship Id="rId96" Type="http://schemas.openxmlformats.org/officeDocument/2006/relationships/tags" Target="../tags/tag144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49" Type="http://schemas.openxmlformats.org/officeDocument/2006/relationships/tags" Target="../tags/tag97.xml"/><Relationship Id="rId114" Type="http://schemas.openxmlformats.org/officeDocument/2006/relationships/tags" Target="../tags/tag162.xml"/><Relationship Id="rId119" Type="http://schemas.openxmlformats.org/officeDocument/2006/relationships/tags" Target="../tags/tag167.xml"/><Relationship Id="rId44" Type="http://schemas.openxmlformats.org/officeDocument/2006/relationships/tags" Target="../tags/tag92.xml"/><Relationship Id="rId60" Type="http://schemas.openxmlformats.org/officeDocument/2006/relationships/tags" Target="../tags/tag108.xml"/><Relationship Id="rId65" Type="http://schemas.openxmlformats.org/officeDocument/2006/relationships/tags" Target="../tags/tag113.xml"/><Relationship Id="rId81" Type="http://schemas.openxmlformats.org/officeDocument/2006/relationships/tags" Target="../tags/tag129.xml"/><Relationship Id="rId86" Type="http://schemas.openxmlformats.org/officeDocument/2006/relationships/tags" Target="../tags/tag134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9" Type="http://schemas.openxmlformats.org/officeDocument/2006/relationships/tags" Target="../tags/tag87.xml"/><Relationship Id="rId109" Type="http://schemas.openxmlformats.org/officeDocument/2006/relationships/tags" Target="../tags/tag157.xml"/><Relationship Id="rId34" Type="http://schemas.openxmlformats.org/officeDocument/2006/relationships/tags" Target="../tags/tag82.xml"/><Relationship Id="rId50" Type="http://schemas.openxmlformats.org/officeDocument/2006/relationships/tags" Target="../tags/tag98.xml"/><Relationship Id="rId55" Type="http://schemas.openxmlformats.org/officeDocument/2006/relationships/tags" Target="../tags/tag103.xml"/><Relationship Id="rId76" Type="http://schemas.openxmlformats.org/officeDocument/2006/relationships/tags" Target="../tags/tag124.xml"/><Relationship Id="rId97" Type="http://schemas.openxmlformats.org/officeDocument/2006/relationships/tags" Target="../tags/tag145.xml"/><Relationship Id="rId104" Type="http://schemas.openxmlformats.org/officeDocument/2006/relationships/tags" Target="../tags/tag152.xml"/><Relationship Id="rId120" Type="http://schemas.openxmlformats.org/officeDocument/2006/relationships/tags" Target="../tags/tag168.xml"/><Relationship Id="rId125" Type="http://schemas.openxmlformats.org/officeDocument/2006/relationships/slideMaster" Target="../slideMasters/slideMaster3.xml"/><Relationship Id="rId7" Type="http://schemas.openxmlformats.org/officeDocument/2006/relationships/tags" Target="../tags/tag55.xml"/><Relationship Id="rId71" Type="http://schemas.openxmlformats.org/officeDocument/2006/relationships/tags" Target="../tags/tag119.xml"/><Relationship Id="rId92" Type="http://schemas.openxmlformats.org/officeDocument/2006/relationships/tags" Target="../tags/tag140.xml"/><Relationship Id="rId2" Type="http://schemas.openxmlformats.org/officeDocument/2006/relationships/tags" Target="../tags/tag50.xml"/><Relationship Id="rId29" Type="http://schemas.openxmlformats.org/officeDocument/2006/relationships/tags" Target="../tags/tag77.xml"/><Relationship Id="rId24" Type="http://schemas.openxmlformats.org/officeDocument/2006/relationships/tags" Target="../tags/tag72.xml"/><Relationship Id="rId40" Type="http://schemas.openxmlformats.org/officeDocument/2006/relationships/tags" Target="../tags/tag88.xml"/><Relationship Id="rId45" Type="http://schemas.openxmlformats.org/officeDocument/2006/relationships/tags" Target="../tags/tag93.xml"/><Relationship Id="rId66" Type="http://schemas.openxmlformats.org/officeDocument/2006/relationships/tags" Target="../tags/tag114.xml"/><Relationship Id="rId87" Type="http://schemas.openxmlformats.org/officeDocument/2006/relationships/tags" Target="../tags/tag135.xml"/><Relationship Id="rId110" Type="http://schemas.openxmlformats.org/officeDocument/2006/relationships/tags" Target="../tags/tag158.xml"/><Relationship Id="rId115" Type="http://schemas.openxmlformats.org/officeDocument/2006/relationships/tags" Target="../tags/tag163.xml"/><Relationship Id="rId61" Type="http://schemas.openxmlformats.org/officeDocument/2006/relationships/tags" Target="../tags/tag109.xml"/><Relationship Id="rId82" Type="http://schemas.openxmlformats.org/officeDocument/2006/relationships/tags" Target="../tags/tag130.xml"/><Relationship Id="rId19" Type="http://schemas.openxmlformats.org/officeDocument/2006/relationships/tags" Target="../tags/tag67.xml"/><Relationship Id="rId14" Type="http://schemas.openxmlformats.org/officeDocument/2006/relationships/tags" Target="../tags/tag62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56" Type="http://schemas.openxmlformats.org/officeDocument/2006/relationships/tags" Target="../tags/tag104.xml"/><Relationship Id="rId77" Type="http://schemas.openxmlformats.org/officeDocument/2006/relationships/tags" Target="../tags/tag125.xml"/><Relationship Id="rId100" Type="http://schemas.openxmlformats.org/officeDocument/2006/relationships/tags" Target="../tags/tag148.xml"/><Relationship Id="rId105" Type="http://schemas.openxmlformats.org/officeDocument/2006/relationships/tags" Target="../tags/tag153.xml"/><Relationship Id="rId126" Type="http://schemas.openxmlformats.org/officeDocument/2006/relationships/oleObject" Target="../embeddings/oleObject9.bin"/><Relationship Id="rId8" Type="http://schemas.openxmlformats.org/officeDocument/2006/relationships/tags" Target="../tags/tag56.xml"/><Relationship Id="rId51" Type="http://schemas.openxmlformats.org/officeDocument/2006/relationships/tags" Target="../tags/tag99.xml"/><Relationship Id="rId72" Type="http://schemas.openxmlformats.org/officeDocument/2006/relationships/tags" Target="../tags/tag120.xml"/><Relationship Id="rId93" Type="http://schemas.openxmlformats.org/officeDocument/2006/relationships/tags" Target="../tags/tag141.xml"/><Relationship Id="rId98" Type="http://schemas.openxmlformats.org/officeDocument/2006/relationships/tags" Target="../tags/tag146.xml"/><Relationship Id="rId121" Type="http://schemas.openxmlformats.org/officeDocument/2006/relationships/tags" Target="../tags/tag169.xml"/><Relationship Id="rId3" Type="http://schemas.openxmlformats.org/officeDocument/2006/relationships/tags" Target="../tags/tag51.xml"/><Relationship Id="rId25" Type="http://schemas.openxmlformats.org/officeDocument/2006/relationships/tags" Target="../tags/tag73.xml"/><Relationship Id="rId46" Type="http://schemas.openxmlformats.org/officeDocument/2006/relationships/tags" Target="../tags/tag94.xml"/><Relationship Id="rId67" Type="http://schemas.openxmlformats.org/officeDocument/2006/relationships/tags" Target="../tags/tag115.xml"/><Relationship Id="rId116" Type="http://schemas.openxmlformats.org/officeDocument/2006/relationships/tags" Target="../tags/tag164.xml"/><Relationship Id="rId20" Type="http://schemas.openxmlformats.org/officeDocument/2006/relationships/tags" Target="../tags/tag68.xml"/><Relationship Id="rId41" Type="http://schemas.openxmlformats.org/officeDocument/2006/relationships/tags" Target="../tags/tag89.xml"/><Relationship Id="rId62" Type="http://schemas.openxmlformats.org/officeDocument/2006/relationships/tags" Target="../tags/tag110.xml"/><Relationship Id="rId83" Type="http://schemas.openxmlformats.org/officeDocument/2006/relationships/tags" Target="../tags/tag131.xml"/><Relationship Id="rId88" Type="http://schemas.openxmlformats.org/officeDocument/2006/relationships/tags" Target="../tags/tag136.xml"/><Relationship Id="rId111" Type="http://schemas.openxmlformats.org/officeDocument/2006/relationships/tags" Target="../tags/tag159.xml"/><Relationship Id="rId15" Type="http://schemas.openxmlformats.org/officeDocument/2006/relationships/tags" Target="../tags/tag63.xml"/><Relationship Id="rId36" Type="http://schemas.openxmlformats.org/officeDocument/2006/relationships/tags" Target="../tags/tag84.xml"/><Relationship Id="rId57" Type="http://schemas.openxmlformats.org/officeDocument/2006/relationships/tags" Target="../tags/tag105.xml"/><Relationship Id="rId106" Type="http://schemas.openxmlformats.org/officeDocument/2006/relationships/tags" Target="../tags/tag154.xml"/><Relationship Id="rId127" Type="http://schemas.openxmlformats.org/officeDocument/2006/relationships/image" Target="../media/image14.emf"/><Relationship Id="rId10" Type="http://schemas.openxmlformats.org/officeDocument/2006/relationships/tags" Target="../tags/tag58.xml"/><Relationship Id="rId31" Type="http://schemas.openxmlformats.org/officeDocument/2006/relationships/tags" Target="../tags/tag79.xml"/><Relationship Id="rId52" Type="http://schemas.openxmlformats.org/officeDocument/2006/relationships/tags" Target="../tags/tag100.xml"/><Relationship Id="rId73" Type="http://schemas.openxmlformats.org/officeDocument/2006/relationships/tags" Target="../tags/tag121.xml"/><Relationship Id="rId78" Type="http://schemas.openxmlformats.org/officeDocument/2006/relationships/tags" Target="../tags/tag126.xml"/><Relationship Id="rId94" Type="http://schemas.openxmlformats.org/officeDocument/2006/relationships/tags" Target="../tags/tag142.xml"/><Relationship Id="rId99" Type="http://schemas.openxmlformats.org/officeDocument/2006/relationships/tags" Target="../tags/tag147.xml"/><Relationship Id="rId101" Type="http://schemas.openxmlformats.org/officeDocument/2006/relationships/tags" Target="../tags/tag149.xml"/><Relationship Id="rId122" Type="http://schemas.openxmlformats.org/officeDocument/2006/relationships/tags" Target="../tags/tag170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7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7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6.xml"/><Relationship Id="rId4" Type="http://schemas.openxmlformats.org/officeDocument/2006/relationships/tags" Target="../tags/tag175.xml"/><Relationship Id="rId9" Type="http://schemas.openxmlformats.org/officeDocument/2006/relationships/image" Target="../media/image1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image" Target="../media/image21.emf"/><Relationship Id="rId2" Type="http://schemas.openxmlformats.org/officeDocument/2006/relationships/tags" Target="../tags/tag177.xml"/><Relationship Id="rId16" Type="http://schemas.openxmlformats.org/officeDocument/2006/relationships/image" Target="../media/image14.emf"/><Relationship Id="rId1" Type="http://schemas.openxmlformats.org/officeDocument/2006/relationships/vmlDrawing" Target="../drawings/vmlDrawing11.v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2180"/>
            <a:ext cx="12190341" cy="68558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19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732868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418D56-2AD4-4649-A855-7B7DABEE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910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7445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92703" y="431800"/>
            <a:ext cx="9200898" cy="53340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8540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2234933" y="1882443"/>
            <a:ext cx="7718488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chemeClr val="bg1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05C79DB0-2E35-4D48-BF9F-389412DE5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76EE43-DDC5-49B6-A3DC-AE4B6ECB3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253AC89D-0AA6-4A6E-A755-36F93C82D416}"/>
              </a:ext>
            </a:extLst>
          </p:cNvPr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752EAC-F7FD-46F2-999E-E37AD788E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bg1"/>
                </a:solidFill>
              </a:rPr>
              <a:t>With you every step of the way</a:t>
            </a:r>
            <a:endParaRPr lang="en-GB" b="1" noProof="0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B09FCF5-1E89-4BF1-9218-F72718D00A6A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64299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CB1E28F-237E-4B01-BF9C-C8042013C08A}"/>
              </a:ext>
            </a:extLst>
          </p:cNvPr>
          <p:cNvGrpSpPr/>
          <p:nvPr userDrawn="1"/>
        </p:nvGrpSpPr>
        <p:grpSpPr>
          <a:xfrm>
            <a:off x="1004700" y="4214676"/>
            <a:ext cx="2094546" cy="384049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AE54AF9-0D4D-4F59-9BC6-25729328AA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A77FEF-D001-4009-B71B-FDE458CB63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890F5B-DF4C-4ECE-8754-C6E65A4B2150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4FFF0C2C-98F9-43DA-8B10-E877CF383D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A3DE4F30-0138-4AAC-8443-A4E53CC363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Oval 7">
                <a:extLst>
                  <a:ext uri="{FF2B5EF4-FFF2-40B4-BE49-F238E27FC236}">
                    <a16:creationId xmlns:a16="http://schemas.microsoft.com/office/drawing/2014/main" id="{E6EA279C-8F6B-4F42-B1BC-EAB37863CDC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Freeform 19">
            <a:extLst>
              <a:ext uri="{FF2B5EF4-FFF2-40B4-BE49-F238E27FC236}">
                <a16:creationId xmlns:a16="http://schemas.microsoft.com/office/drawing/2014/main" id="{0B1FB3A7-59CA-4A46-A457-2A3536CA08D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4700" y="524433"/>
            <a:ext cx="1080816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436CCF-DA51-4B84-92F9-AC52F8DC13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4677" y="4599050"/>
            <a:ext cx="7213600" cy="1887538"/>
          </a:xfrm>
        </p:spPr>
        <p:txBody>
          <a:bodyPr anchor="b"/>
          <a:lstStyle>
            <a:lvl1pPr>
              <a:defRPr kumimoji="0" lang="en-US" sz="800" b="0" i="0" u="none" strike="noStrike" kern="1200" cap="none" spc="0" normalizeH="0" baseline="0" dirty="0">
                <a:ln>
                  <a:noFill/>
                </a:ln>
                <a:solidFill>
                  <a:sysClr val="window" lastClr="FFFFFF">
                    <a:lumMod val="6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5A51EC-2352-4A74-AB25-7CC0D71B2F47}"/>
              </a:ext>
            </a:extLst>
          </p:cNvPr>
          <p:cNvSpPr txBox="1"/>
          <p:nvPr userDrawn="1"/>
        </p:nvSpPr>
        <p:spPr>
          <a:xfrm>
            <a:off x="897148" y="4610531"/>
            <a:ext cx="24671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pmg.com / socialmedia</a:t>
            </a:r>
          </a:p>
        </p:txBody>
      </p:sp>
    </p:spTree>
    <p:extLst>
      <p:ext uri="{BB962C8B-B14F-4D97-AF65-F5344CB8AC3E}">
        <p14:creationId xmlns:p14="http://schemas.microsoft.com/office/powerpoint/2010/main" val="1162656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 with Sup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965200"/>
            <a:ext cx="10584000" cy="5461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584000" cy="5334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7897B91-8886-41D0-9932-B01FD9E7AC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95363" y="172528"/>
            <a:ext cx="10587037" cy="259272"/>
          </a:xfrm>
        </p:spPr>
        <p:txBody>
          <a:bodyPr anchor="ctr"/>
          <a:lstStyle>
            <a:lvl1pPr>
              <a:defRPr sz="900" b="0">
                <a:solidFill>
                  <a:srgbClr val="6D207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38313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5735" y="480476"/>
            <a:ext cx="11040533" cy="7344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75733" y="227993"/>
            <a:ext cx="11045952" cy="16920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noProof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56044184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gradFill>
          <a:gsLst>
            <a:gs pos="0">
              <a:schemeClr val="bg2"/>
            </a:gs>
            <a:gs pos="100000">
              <a:schemeClr val="accent3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678343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2180"/>
            <a:ext cx="12190341" cy="68558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6863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0"/>
            <a:ext cx="1219034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055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35F9ADD-C5F3-4B8F-BCBD-AE03FA4297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D96D8E43-4F7F-47EC-94DC-8B67EEE69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4273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CCE67FE-F76F-4B47-A2BF-DA3E42547AF6}"/>
              </a:ext>
            </a:extLst>
          </p:cNvPr>
          <p:cNvSpPr/>
          <p:nvPr userDrawn="1"/>
        </p:nvSpPr>
        <p:spPr>
          <a:xfrm>
            <a:off x="0" y="-10337"/>
            <a:ext cx="12192000" cy="6858000"/>
          </a:xfrm>
          <a:prstGeom prst="rect">
            <a:avLst/>
          </a:prstGeom>
          <a:solidFill>
            <a:schemeClr val="accent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80272FA-77B9-4846-9922-994E7C941D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3132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09676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301" y="1456388"/>
            <a:ext cx="3432043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1301" y="5007010"/>
            <a:ext cx="3432043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BE9D60-8E37-4DED-A951-A9C36EAA76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1752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6350010" cy="4445007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7666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E81D1E-EC03-4E35-9F55-9751C67CE0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617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309963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017666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ADB91F-075F-40EA-BBF8-09E1B53E1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1655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656602" y="736722"/>
            <a:ext cx="7794097" cy="545586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23066" y="5075895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2009" y="1002219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588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686675" y="736722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53138" y="5075895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53138" y="1002219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ECC0639-96E3-412C-BC90-5540FE2B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672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C82C8FF-4554-4D33-9E91-3BB7D4A85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2337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33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732868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418D56-2AD4-4649-A855-7B7DABEE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910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4829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09676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301" y="1456388"/>
            <a:ext cx="3432043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1301" y="5007010"/>
            <a:ext cx="3432043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BE9D60-8E37-4DED-A951-A9C36EAA76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083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506648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5007009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686141" y="736722"/>
            <a:ext cx="3764557" cy="539125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8048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8706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0924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506648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5007009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686141" y="736722"/>
            <a:ext cx="3764557" cy="539125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20827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4" y="1330126"/>
            <a:ext cx="8777286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6661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5982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618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45537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2375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87456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4817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77721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439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05716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227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05655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9907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900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026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1278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0888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18576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6264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33951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76571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1840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00708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>
                <a:solidFill>
                  <a:schemeClr val="tx2"/>
                </a:solidFill>
              </a:defRPr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A7138E-6EE9-4E16-AB30-D7C7DA3DC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8538" y="1630363"/>
            <a:ext cx="1906587" cy="563562"/>
          </a:xfrm>
          <a:solidFill>
            <a:srgbClr val="1E49E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652417-F61A-4ABE-AAED-E30436B90B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73464" y="1630363"/>
            <a:ext cx="1906587" cy="563562"/>
          </a:xfrm>
          <a:solidFill>
            <a:schemeClr val="tx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218554-B99A-45E3-9AE4-434D8CA5AD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40699" y="1630363"/>
            <a:ext cx="1906587" cy="563562"/>
          </a:xfrm>
          <a:solidFill>
            <a:schemeClr val="accent4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FCA38BE-76B7-4635-8179-9D7DD99CD9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7934" y="1630363"/>
            <a:ext cx="1906587" cy="563562"/>
          </a:xfrm>
          <a:solidFill>
            <a:schemeClr val="accent3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020005-E0B8-4233-8022-8AC559F11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798" y="1630363"/>
            <a:ext cx="1906587" cy="563562"/>
          </a:xfrm>
          <a:solidFill>
            <a:schemeClr val="accent1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17901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78700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11017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10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0572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27372359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846203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4853403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Cover dark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36415CC-18EE-44C6-AA6A-0C70BEB38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301" y="4240696"/>
            <a:ext cx="5748399" cy="1854200"/>
          </a:xfrm>
        </p:spPr>
        <p:txBody>
          <a:bodyPr anchor="b"/>
          <a:lstStyle>
            <a:lvl1pPr>
              <a:spcAft>
                <a:spcPts val="1000"/>
              </a:spcAft>
              <a:defRPr lang="en-US" sz="900" b="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000"/>
              </a:spcAft>
              <a:defRPr sz="900" b="0">
                <a:solidFill>
                  <a:schemeClr val="tx1"/>
                </a:solidFill>
              </a:defRPr>
            </a:lvl2pPr>
          </a:lstStyle>
          <a:p>
            <a:pPr marL="0" lvl="0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1A20F0E-1C86-4DC6-957F-6F65AC8C2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01" y="3935061"/>
            <a:ext cx="3215651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4182B8-7E62-44CE-AE54-C464674E18B6}"/>
              </a:ext>
            </a:extLst>
          </p:cNvPr>
          <p:cNvGrpSpPr/>
          <p:nvPr userDrawn="1"/>
        </p:nvGrpSpPr>
        <p:grpSpPr>
          <a:xfrm>
            <a:off x="750811" y="3494012"/>
            <a:ext cx="2035175" cy="373163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DDC481-4310-4B64-9A5D-208CF9409F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6404136-6381-48A3-932A-AC26BF0178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824263-AD0D-4152-BFED-1CCF21CB8F58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49B6BE1-732C-47F7-8AC3-AD41EB4E31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C076922-9A80-4B8C-AAD2-A8450426352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C440F010-AD08-48DE-A162-07A7BB051D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BB7DCF77-C63C-4BBE-88C9-6A8B122B82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3197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US" sz="1000" b="0" noProof="0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90866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781300" y="1332352"/>
            <a:ext cx="8407500" cy="4544573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>
              <a:defRPr lang="en-US" sz="1000" kern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2880" indent="-182880">
              <a:defRPr sz="1000"/>
            </a:lvl3pPr>
            <a:lvl4pPr marL="365760" indent="-182880">
              <a:defRPr sz="1000"/>
            </a:lvl4pPr>
            <a:lvl5pPr marL="548640" indent="-182880"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003200" y="2837300"/>
            <a:ext cx="1549500" cy="3039625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tabLst>
                <a:tab pos="228600" algn="l"/>
              </a:tabLst>
              <a:defRPr sz="700">
                <a:solidFill>
                  <a:schemeClr val="tx1"/>
                </a:solidFill>
              </a:defRPr>
            </a:lvl2pPr>
            <a:lvl3pPr marL="109728" indent="-109728">
              <a:spcAft>
                <a:spcPts val="0"/>
              </a:spcAft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667000" y="1332352"/>
            <a:ext cx="0" cy="4544573"/>
          </a:xfrm>
          <a:prstGeom prst="line">
            <a:avLst/>
          </a:prstGeom>
          <a:ln w="1270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03200" y="1004451"/>
            <a:ext cx="1019556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noProof="0"/>
              <a:t>Super title he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003300" y="1331913"/>
            <a:ext cx="1261872" cy="1402201"/>
          </a:xfr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89859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ster Layout to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B73EC-708C-4C4E-B825-C1DD65373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B73EC-708C-4C4E-B825-C1DD65373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D70D7B-85F1-40D6-909D-40139EDC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FBDE0-A381-4A03-8C91-A16E8EDE2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4959"/>
            <a:ext cx="10515600" cy="4592003"/>
          </a:xfrm>
        </p:spPr>
        <p:txBody>
          <a:bodyPr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2pPr>
            <a:lvl3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3pPr>
            <a:lvl4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4pPr>
            <a:lvl5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23C10B-95CE-40DF-AADE-9FE9233365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995820"/>
            <a:ext cx="10515600" cy="500062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AA5A13-32DA-4344-AB8B-8D72E20936AF}"/>
              </a:ext>
            </a:extLst>
          </p:cNvPr>
          <p:cNvSpPr txBox="1"/>
          <p:nvPr userDrawn="1"/>
        </p:nvSpPr>
        <p:spPr>
          <a:xfrm>
            <a:off x="10610222" y="0"/>
            <a:ext cx="1487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b="1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01332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974E0F7-FEE2-449A-9057-E3664B6CD3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4452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0"/>
            <a:ext cx="1219034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52243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35F9ADD-C5F3-4B8F-BCBD-AE03FA4297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D96D8E43-4F7F-47EC-94DC-8B67EEE69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17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4" y="1330126"/>
            <a:ext cx="8777286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3585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929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6350010" cy="4445007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7666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E81D1E-EC03-4E35-9F55-9751C67CE0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14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309963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017666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ADB91F-075F-40EA-BBF8-09E1B53E1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80721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656602" y="736722"/>
            <a:ext cx="7794097" cy="545586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23066" y="5075895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2009" y="1002219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178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686675" y="736722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53138" y="5075895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53138" y="1002219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ECC0639-96E3-412C-BC90-5540FE2B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0813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C82C8FF-4554-4D33-9E91-3BB7D4A85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2337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894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732868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418D56-2AD4-4649-A855-7B7DABEE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910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0689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09676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301" y="1456388"/>
            <a:ext cx="3432043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1301" y="5007010"/>
            <a:ext cx="3432043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BE9D60-8E37-4DED-A951-A9C36EAA76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8691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506648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5007009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686141" y="736722"/>
            <a:ext cx="3764557" cy="539125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19982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8161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5982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39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33257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4" y="1232690"/>
            <a:ext cx="8777286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971654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5982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451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45537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6876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87456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1215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08299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4482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26967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59619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3215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45537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22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4868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440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08650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06808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0888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18576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6264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33951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60049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46070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454171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>
                <a:solidFill>
                  <a:schemeClr val="tx2"/>
                </a:solidFill>
              </a:defRPr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A7138E-6EE9-4E16-AB30-D7C7DA3DC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8538" y="1630363"/>
            <a:ext cx="1906587" cy="563562"/>
          </a:xfrm>
          <a:solidFill>
            <a:srgbClr val="1E49E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652417-F61A-4ABE-AAED-E30436B90B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73464" y="1630363"/>
            <a:ext cx="1906587" cy="563562"/>
          </a:xfrm>
          <a:solidFill>
            <a:schemeClr val="tx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218554-B99A-45E3-9AE4-434D8CA5AD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40699" y="1630363"/>
            <a:ext cx="1906587" cy="563562"/>
          </a:xfrm>
          <a:solidFill>
            <a:schemeClr val="accent4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FCA38BE-76B7-4635-8179-9D7DD99CD9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7934" y="1630363"/>
            <a:ext cx="1906587" cy="563562"/>
          </a:xfrm>
          <a:solidFill>
            <a:schemeClr val="accent3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020005-E0B8-4233-8022-8AC559F11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798" y="1630363"/>
            <a:ext cx="1906587" cy="563562"/>
          </a:xfrm>
          <a:solidFill>
            <a:schemeClr val="accent1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378464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06055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449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87456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3720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92658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49689271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15870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55564464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Cover dark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36415CC-18EE-44C6-AA6A-0C70BEB38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301" y="4240696"/>
            <a:ext cx="5748399" cy="1854200"/>
          </a:xfrm>
        </p:spPr>
        <p:txBody>
          <a:bodyPr anchor="b"/>
          <a:lstStyle>
            <a:lvl1pPr>
              <a:spcAft>
                <a:spcPts val="1000"/>
              </a:spcAft>
              <a:defRPr lang="en-US" sz="900" b="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000"/>
              </a:spcAft>
              <a:defRPr sz="900" b="0">
                <a:solidFill>
                  <a:schemeClr val="tx1"/>
                </a:solidFill>
              </a:defRPr>
            </a:lvl2pPr>
          </a:lstStyle>
          <a:p>
            <a:pPr marL="0" lvl="0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1A20F0E-1C86-4DC6-957F-6F65AC8C2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01" y="3935061"/>
            <a:ext cx="3215651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4182B8-7E62-44CE-AE54-C464674E18B6}"/>
              </a:ext>
            </a:extLst>
          </p:cNvPr>
          <p:cNvGrpSpPr/>
          <p:nvPr userDrawn="1"/>
        </p:nvGrpSpPr>
        <p:grpSpPr>
          <a:xfrm>
            <a:off x="750811" y="3494012"/>
            <a:ext cx="2035175" cy="373163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DDC481-4310-4B64-9A5D-208CF9409F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6404136-6381-48A3-932A-AC26BF0178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824263-AD0D-4152-BFED-1CCF21CB8F58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49B6BE1-732C-47F7-8AC3-AD41EB4E31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C076922-9A80-4B8C-AAD2-A8450426352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C440F010-AD08-48DE-A162-07A7BB051D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BB7DCF77-C63C-4BBE-88C9-6A8B122B82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857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US" sz="1000" b="0" noProof="0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22368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0"/>
            <a:ext cx="1219034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023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84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827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019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258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0888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18576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6264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33951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9126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35F9ADD-C5F3-4B8F-BCBD-AE03FA4297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D96D8E43-4F7F-47EC-94DC-8B67EEE69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8639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341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>
                <a:solidFill>
                  <a:schemeClr val="tx2"/>
                </a:solidFill>
              </a:defRPr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A7138E-6EE9-4E16-AB30-D7C7DA3DC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8538" y="1630363"/>
            <a:ext cx="1906587" cy="563562"/>
          </a:xfrm>
          <a:solidFill>
            <a:srgbClr val="1E49E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652417-F61A-4ABE-AAED-E30436B90B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73464" y="1630363"/>
            <a:ext cx="1906587" cy="563562"/>
          </a:xfrm>
          <a:solidFill>
            <a:schemeClr val="tx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218554-B99A-45E3-9AE4-434D8CA5AD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40699" y="1630363"/>
            <a:ext cx="1906587" cy="563562"/>
          </a:xfrm>
          <a:solidFill>
            <a:schemeClr val="accent4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FCA38BE-76B7-4635-8179-9D7DD99CD9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7934" y="1630363"/>
            <a:ext cx="1906587" cy="563562"/>
          </a:xfrm>
          <a:solidFill>
            <a:schemeClr val="accent3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020005-E0B8-4233-8022-8AC559F11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798" y="1630363"/>
            <a:ext cx="1906587" cy="563562"/>
          </a:xfrm>
          <a:solidFill>
            <a:schemeClr val="accent1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1263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58581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695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56639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9760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Cover dark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36415CC-18EE-44C6-AA6A-0C70BEB38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301" y="4240696"/>
            <a:ext cx="5748399" cy="1854200"/>
          </a:xfrm>
        </p:spPr>
        <p:txBody>
          <a:bodyPr anchor="b"/>
          <a:lstStyle>
            <a:lvl1pPr>
              <a:spcAft>
                <a:spcPts val="1000"/>
              </a:spcAft>
              <a:defRPr lang="en-US" sz="900" b="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000"/>
              </a:spcAft>
              <a:defRPr sz="900" b="0">
                <a:solidFill>
                  <a:schemeClr val="tx1"/>
                </a:solidFill>
              </a:defRPr>
            </a:lvl2pPr>
          </a:lstStyle>
          <a:p>
            <a:pPr marL="0" lvl="0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1A20F0E-1C86-4DC6-957F-6F65AC8C2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01" y="3935061"/>
            <a:ext cx="3215651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4182B8-7E62-44CE-AE54-C464674E18B6}"/>
              </a:ext>
            </a:extLst>
          </p:cNvPr>
          <p:cNvGrpSpPr/>
          <p:nvPr userDrawn="1"/>
        </p:nvGrpSpPr>
        <p:grpSpPr>
          <a:xfrm>
            <a:off x="750811" y="3494012"/>
            <a:ext cx="2035175" cy="373163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DDC481-4310-4B64-9A5D-208CF9409F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6404136-6381-48A3-932A-AC26BF0178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824263-AD0D-4152-BFED-1CCF21CB8F58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49B6BE1-732C-47F7-8AC3-AD41EB4E31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C076922-9A80-4B8C-AAD2-A8450426352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C440F010-AD08-48DE-A162-07A7BB051D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BB7DCF77-C63C-4BBE-88C9-6A8B122B82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361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US" sz="1000" b="0" noProof="0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9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rgbClr val="00338D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rgbClr val="00338D"/>
                </a:solidFill>
              </a:defRPr>
            </a:lvl1pPr>
            <a:lvl2pPr>
              <a:defRPr sz="1400">
                <a:solidFill>
                  <a:srgbClr val="00338D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0478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2180"/>
            <a:ext cx="12190341" cy="68558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0896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" y="0"/>
            <a:ext cx="1219034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0462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Right Vertical Window Image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2335E8F-D0E6-4E91-BC16-1E970996B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354698" cy="1686205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3457743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9777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6350010" cy="4445007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7666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E81D1E-EC03-4E35-9F55-9751C67CE0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802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309963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017666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ADB91F-075F-40EA-BBF8-09E1B53E1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2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656602" y="736722"/>
            <a:ext cx="7794097" cy="545586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23066" y="5075895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2009" y="1002219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546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686675" y="736722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53138" y="5075895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53138" y="1002219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ECC0639-96E3-412C-BC90-5540FE2B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515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C82C8FF-4554-4D33-9E91-3BB7D4A85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2337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60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732868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418D56-2AD4-4649-A855-7B7DABEE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910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8946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09676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301" y="1456388"/>
            <a:ext cx="3432043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1301" y="5007010"/>
            <a:ext cx="3432043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BE9D60-8E37-4DED-A951-A9C36EAA76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995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6350010" cy="4445007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7666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E81D1E-EC03-4E35-9F55-9751C67CE0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17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1302" y="1456388"/>
            <a:ext cx="5506648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41302" y="5007009"/>
            <a:ext cx="550664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686141" y="736722"/>
            <a:ext cx="3764557" cy="539125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A84BD71-38D7-4AC1-B38A-7DE8843A6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7078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505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61549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4" y="1330126"/>
            <a:ext cx="8777286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0762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5982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581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8745537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41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87456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9639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57237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41964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139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741301" y="1470479"/>
            <a:ext cx="3099633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7666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017666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8ADB91F-075F-40EA-BBF8-09E1B53E1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3592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3388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89525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LUMN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398D60-3AA9-4DD4-AFCF-8682C70E39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200" y="1322389"/>
            <a:ext cx="10185400" cy="518400"/>
          </a:xfrm>
        </p:spPr>
        <p:txBody>
          <a:bodyPr/>
          <a:lstStyle>
            <a:lvl1pPr>
              <a:defRPr sz="1800" kern="0"/>
            </a:lvl1pPr>
          </a:lstStyle>
          <a:p>
            <a:pPr lvl="0"/>
            <a:r>
              <a:rPr lang="en-US"/>
              <a:t>Introduction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50472"/>
            <a:ext cx="4968000" cy="3826453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600" b="1" kern="0" spc="0">
                <a:solidFill>
                  <a:srgbClr val="00338D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lang="en-US" sz="1600" b="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lnSpc>
                <a:spcPct val="100000"/>
              </a:lnSpc>
              <a:spcAft>
                <a:spcPts val="600"/>
              </a:spcAft>
              <a:defRPr sz="1600" kern="0">
                <a:solidFill>
                  <a:schemeClr val="tx1"/>
                </a:solidFill>
              </a:defRPr>
            </a:lvl4pPr>
            <a:lvl5pPr marL="461963" indent="-231775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-"/>
              <a:defRPr sz="1600" kern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lnSpc>
                <a:spcPct val="10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0613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969963" algn="l"/>
              </a:tabLst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2050472"/>
            <a:ext cx="4968000" cy="3826453"/>
          </a:xfrm>
        </p:spPr>
        <p:txBody>
          <a:bodyPr/>
          <a:lstStyle>
            <a:lvl1pPr>
              <a:defRPr sz="1600" b="1" kern="0" spc="0">
                <a:solidFill>
                  <a:srgbClr val="00338D"/>
                </a:solidFill>
              </a:defRPr>
            </a:lvl1pPr>
            <a:lvl2pPr>
              <a:defRPr lang="en-US" sz="1600" b="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 kern="0">
                <a:solidFill>
                  <a:schemeClr val="tx1"/>
                </a:solidFill>
              </a:defRPr>
            </a:lvl4pPr>
            <a:lvl5pPr marL="515938" indent="-285750">
              <a:buFont typeface="Arial" panose="020B0604020202020204" pitchFamily="34" charset="0"/>
              <a:buChar char="-"/>
              <a:defRPr lang="en-US" sz="16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400"/>
            </a:lvl6pPr>
            <a:lvl7pPr>
              <a:defRPr sz="1600">
                <a:solidFill>
                  <a:schemeClr val="tx1"/>
                </a:solidFill>
              </a:defRPr>
            </a:lvl7pPr>
            <a:lvl8pPr>
              <a:defRPr sz="1600">
                <a:solidFill>
                  <a:schemeClr val="tx1"/>
                </a:solidFill>
              </a:defRPr>
            </a:lvl8pPr>
            <a:lvl9pPr marL="1144588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05994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29106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3734128"/>
            <a:ext cx="4968000" cy="2190297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600" b="1" kern="0" spc="0">
                <a:solidFill>
                  <a:srgbClr val="00338D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600" b="0" kern="0">
                <a:solidFill>
                  <a:schemeClr val="tx1"/>
                </a:solidFill>
              </a:defRPr>
            </a:lvl2pPr>
            <a:lvl3pPr>
              <a:defRPr sz="1600"/>
            </a:lvl3pPr>
            <a:lvl4pPr>
              <a:lnSpc>
                <a:spcPct val="100000"/>
              </a:lnSpc>
              <a:spcAft>
                <a:spcPts val="600"/>
              </a:spcAft>
              <a:defRPr sz="1600" kern="0">
                <a:solidFill>
                  <a:schemeClr val="tx1"/>
                </a:solidFill>
              </a:defRPr>
            </a:lvl4pPr>
            <a:lvl5pPr marL="566738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-"/>
              <a:defRPr sz="1600" kern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lnSpc>
                <a:spcPct val="10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8pPr>
            <a:lvl9pPr marL="1144588" indent="-228600">
              <a:lnSpc>
                <a:spcPct val="100000"/>
              </a:lnSpc>
              <a:spcAft>
                <a:spcPts val="600"/>
              </a:spcAft>
              <a:buClr>
                <a:srgbClr val="00338D"/>
              </a:buClr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3734128"/>
            <a:ext cx="4968000" cy="2190297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600" b="1" kern="0" spc="0"/>
            </a:lvl1pPr>
            <a:lvl2pPr>
              <a:lnSpc>
                <a:spcPct val="100000"/>
              </a:lnSpc>
              <a:spcAft>
                <a:spcPts val="600"/>
              </a:spcAft>
              <a:defRPr sz="1600" b="0" kern="0">
                <a:solidFill>
                  <a:schemeClr val="tx1"/>
                </a:solidFill>
              </a:defRPr>
            </a:lvl2pPr>
            <a:lvl3pPr>
              <a:defRPr sz="1600"/>
            </a:lvl3pPr>
            <a:lvl4pPr>
              <a:lnSpc>
                <a:spcPct val="100000"/>
              </a:lnSpc>
              <a:spcAft>
                <a:spcPts val="600"/>
              </a:spcAft>
              <a:defRPr sz="1600" kern="0">
                <a:solidFill>
                  <a:schemeClr val="tx1"/>
                </a:solidFill>
              </a:defRPr>
            </a:lvl4pPr>
            <a:lvl5pPr marL="717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-"/>
              <a:defRPr sz="1600" kern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lnSpc>
                <a:spcPct val="10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8pPr>
            <a:lvl9pPr marL="1144588" indent="-228600">
              <a:lnSpc>
                <a:spcPct val="100000"/>
              </a:lnSpc>
              <a:spcAft>
                <a:spcPts val="600"/>
              </a:spcAft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9A1736-8B5E-4C9A-87AA-3DF4FB6D6175}"/>
              </a:ext>
            </a:extLst>
          </p:cNvPr>
          <p:cNvSpPr/>
          <p:nvPr userDrawn="1"/>
        </p:nvSpPr>
        <p:spPr>
          <a:xfrm>
            <a:off x="0" y="1"/>
            <a:ext cx="12192000" cy="2501660"/>
          </a:xfrm>
          <a:prstGeom prst="rect">
            <a:avLst/>
          </a:prstGeom>
          <a:gradFill>
            <a:gsLst>
              <a:gs pos="0">
                <a:srgbClr val="7213EA"/>
              </a:gs>
              <a:gs pos="100000">
                <a:srgbClr val="1E49E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4426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2803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</p:spPr>
        <p:txBody>
          <a:bodyPr/>
          <a:lstStyle>
            <a:lvl1pPr>
              <a:defRPr sz="1400" b="1" kern="0" spc="0">
                <a:solidFill>
                  <a:srgbClr val="00338D"/>
                </a:solidFill>
              </a:defRPr>
            </a:lvl1pPr>
            <a:lvl2pPr>
              <a:defRPr sz="1400" b="0" kern="0">
                <a:solidFill>
                  <a:schemeClr val="tx2"/>
                </a:solidFill>
              </a:defRPr>
            </a:lvl2pPr>
            <a:lvl3pPr>
              <a:defRPr sz="1400" kern="0">
                <a:solidFill>
                  <a:schemeClr val="tx1"/>
                </a:solidFill>
              </a:defRPr>
            </a:lvl3pPr>
            <a:lvl4pPr>
              <a:defRPr sz="1400" kern="0">
                <a:solidFill>
                  <a:schemeClr val="tx1"/>
                </a:solidFill>
              </a:defRPr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</a:defRPr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714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2500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908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4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0888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18576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6264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33951" y="2009775"/>
            <a:ext cx="1981300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17629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9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656602" y="736722"/>
            <a:ext cx="7794097" cy="545586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923066" y="5075895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2009" y="1002219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BDA91F4-0EDF-45F7-BE99-6872894A1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47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bg1">
              <a:lumMod val="85000"/>
            </a:schemeClr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7303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C7EC625-DE37-4829-ACBE-0373F0B82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2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>
                <a:solidFill>
                  <a:schemeClr val="tx2"/>
                </a:solidFill>
              </a:defRPr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ker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7C46F-D057-4106-9B45-A730A557B5D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726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33DBCF-2199-4682-AAC2-C3FC0CBE92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420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30E5C8-8660-4D01-AD3B-CEEFB37F75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11400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404CCF0-6C3D-42EE-9F8D-FE237FEEB1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80798" y="1322388"/>
            <a:ext cx="1899657" cy="4554538"/>
          </a:xfrm>
          <a:solidFill>
            <a:srgbClr val="E5E5E5"/>
          </a:solidFill>
        </p:spPr>
        <p:txBody>
          <a:bodyPr lIns="91440" tIns="1005840" rIns="91440"/>
          <a:lstStyle>
            <a:lvl1pPr>
              <a:defRPr sz="1600" b="1" spc="0"/>
            </a:lvl1pPr>
            <a:lvl2pPr>
              <a:defRPr sz="1600" b="0"/>
            </a:lvl2pPr>
            <a:lvl3pPr>
              <a:defRPr sz="1600" kern="0"/>
            </a:lvl3pPr>
            <a:lvl4pPr>
              <a:defRPr sz="1600" kern="0"/>
            </a:lvl4pPr>
            <a:lvl5pPr marL="461963" indent="-231775">
              <a:buClr>
                <a:schemeClr val="tx2"/>
              </a:buClr>
              <a:buFont typeface="Arial" panose="020B0604020202020204" pitchFamily="34" charset="0"/>
              <a:buChar char="-"/>
              <a:defRPr sz="1600" kern="0"/>
            </a:lvl5pPr>
            <a:lvl7pPr>
              <a:defRPr sz="1600"/>
            </a:lvl7pPr>
            <a:lvl8pPr>
              <a:defRPr sz="1600"/>
            </a:lvl8pPr>
            <a:lvl9pPr marL="109061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rgbClr val="00338D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A7138E-6EE9-4E16-AB30-D7C7DA3DC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8538" y="1630363"/>
            <a:ext cx="1906587" cy="563562"/>
          </a:xfrm>
          <a:solidFill>
            <a:srgbClr val="1E49E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652417-F61A-4ABE-AAED-E30436B90B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73464" y="1630363"/>
            <a:ext cx="1906587" cy="563562"/>
          </a:xfrm>
          <a:solidFill>
            <a:schemeClr val="tx2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218554-B99A-45E3-9AE4-434D8CA5AD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40699" y="1630363"/>
            <a:ext cx="1906587" cy="563562"/>
          </a:xfrm>
          <a:solidFill>
            <a:schemeClr val="accent4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FCA38BE-76B7-4635-8179-9D7DD99CD9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7934" y="1630363"/>
            <a:ext cx="1906587" cy="563562"/>
          </a:xfrm>
          <a:solidFill>
            <a:schemeClr val="accent3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020005-E0B8-4233-8022-8AC559F11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798" y="1630363"/>
            <a:ext cx="1906587" cy="563562"/>
          </a:xfrm>
          <a:solidFill>
            <a:schemeClr val="accent1"/>
          </a:solidFill>
        </p:spPr>
        <p:txBody>
          <a:bodyPr anchor="ctr"/>
          <a:lstStyle>
            <a:lvl1pPr algn="ctr">
              <a:defRPr sz="1600" b="1" ker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301002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92872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01917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bg1">
              <a:lumMod val="85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1060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226458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1318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4325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4985095"/>
            <a:ext cx="5252400" cy="569387"/>
          </a:xfrm>
        </p:spPr>
        <p:txBody>
          <a:bodyPr wrap="square" anchor="b">
            <a:sp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7586676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604226E-EE2B-456C-B755-B27FB56F05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30051" y="1675973"/>
            <a:ext cx="1131897" cy="1554907"/>
          </a:xfrm>
          <a:gradFill>
            <a:gsLst>
              <a:gs pos="0">
                <a:srgbClr val="7213EA"/>
              </a:gs>
              <a:gs pos="100000">
                <a:srgbClr val="1E49E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>
            <a:lvl1pPr algn="ctr">
              <a:defRPr kumimoji="0" lang="en-US" sz="72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/>
              <a:t>#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BAEEB15-711A-422A-8181-97EDF58292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30051" y="5356619"/>
            <a:ext cx="5092699" cy="520305"/>
          </a:xfrm>
        </p:spPr>
        <p:txBody>
          <a:bodyPr anchor="b"/>
          <a:lstStyle>
            <a:lvl1pPr>
              <a:defRPr kern="0" spc="0" baseline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85A893-E2C2-4E62-A1DE-835DB19E823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95363" y="655320"/>
            <a:ext cx="3799745" cy="5221605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kern="0" spc="0" baseline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0051" y="3429000"/>
            <a:ext cx="5092800" cy="1554920"/>
          </a:xfrm>
        </p:spPr>
        <p:txBody>
          <a:bodyPr/>
          <a:lstStyle>
            <a:lvl1pPr>
              <a:lnSpc>
                <a:spcPct val="80000"/>
              </a:lnSpc>
              <a:defRPr sz="6000" kern="0" spc="0" baseline="0"/>
            </a:lvl1pPr>
          </a:lstStyle>
          <a:p>
            <a:r>
              <a:rPr lang="en-US"/>
              <a:t>Divider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940203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Cover dark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36415CC-18EE-44C6-AA6A-0C70BEB38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301" y="4240696"/>
            <a:ext cx="5748399" cy="1854200"/>
          </a:xfrm>
        </p:spPr>
        <p:txBody>
          <a:bodyPr anchor="b"/>
          <a:lstStyle>
            <a:lvl1pPr>
              <a:spcAft>
                <a:spcPts val="1000"/>
              </a:spcAft>
              <a:defRPr lang="en-US" sz="900" b="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000"/>
              </a:spcAft>
              <a:defRPr sz="900" b="0">
                <a:solidFill>
                  <a:schemeClr val="tx1"/>
                </a:solidFill>
              </a:defRPr>
            </a:lvl2pPr>
          </a:lstStyle>
          <a:p>
            <a:pPr marL="0" lvl="0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685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1A20F0E-1C86-4DC6-957F-6F65AC8C2E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01" y="3935061"/>
            <a:ext cx="3215651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F4182B8-7E62-44CE-AE54-C464674E18B6}"/>
              </a:ext>
            </a:extLst>
          </p:cNvPr>
          <p:cNvGrpSpPr/>
          <p:nvPr userDrawn="1"/>
        </p:nvGrpSpPr>
        <p:grpSpPr>
          <a:xfrm>
            <a:off x="750811" y="3494012"/>
            <a:ext cx="2035175" cy="373163"/>
            <a:chOff x="1584001" y="2682350"/>
            <a:chExt cx="2094546" cy="38404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DDC481-4310-4B64-9A5D-208CF9409F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4335"/>
            <a:stretch/>
          </p:blipFill>
          <p:spPr>
            <a:xfrm>
              <a:off x="1584001" y="2682350"/>
              <a:ext cx="1273500" cy="38404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6404136-6381-48A3-932A-AC26BF0178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6023" y="2682350"/>
              <a:ext cx="402524" cy="384049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824263-AD0D-4152-BFED-1CCF21CB8F58}"/>
                </a:ext>
              </a:extLst>
            </p:cNvPr>
            <p:cNvGrpSpPr/>
            <p:nvPr userDrawn="1"/>
          </p:nvGrpSpPr>
          <p:grpSpPr>
            <a:xfrm>
              <a:off x="2867305" y="2682351"/>
              <a:ext cx="383774" cy="383774"/>
              <a:chOff x="3296507" y="2682351"/>
              <a:chExt cx="383774" cy="383774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F49B6BE1-732C-47F7-8AC3-AD41EB4E31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296507" y="2682351"/>
                <a:ext cx="383774" cy="383774"/>
              </a:xfrm>
              <a:custGeom>
                <a:avLst/>
                <a:gdLst>
                  <a:gd name="T0" fmla="*/ 1008 w 2016"/>
                  <a:gd name="T1" fmla="*/ 182 h 2016"/>
                  <a:gd name="T2" fmla="*/ 1415 w 2016"/>
                  <a:gd name="T3" fmla="*/ 188 h 2016"/>
                  <a:gd name="T4" fmla="*/ 1602 w 2016"/>
                  <a:gd name="T5" fmla="*/ 222 h 2016"/>
                  <a:gd name="T6" fmla="*/ 1718 w 2016"/>
                  <a:gd name="T7" fmla="*/ 298 h 2016"/>
                  <a:gd name="T8" fmla="*/ 1794 w 2016"/>
                  <a:gd name="T9" fmla="*/ 414 h 2016"/>
                  <a:gd name="T10" fmla="*/ 1828 w 2016"/>
                  <a:gd name="T11" fmla="*/ 601 h 2016"/>
                  <a:gd name="T12" fmla="*/ 1834 w 2016"/>
                  <a:gd name="T13" fmla="*/ 1008 h 2016"/>
                  <a:gd name="T14" fmla="*/ 1828 w 2016"/>
                  <a:gd name="T15" fmla="*/ 1415 h 2016"/>
                  <a:gd name="T16" fmla="*/ 1794 w 2016"/>
                  <a:gd name="T17" fmla="*/ 1602 h 2016"/>
                  <a:gd name="T18" fmla="*/ 1718 w 2016"/>
                  <a:gd name="T19" fmla="*/ 1718 h 2016"/>
                  <a:gd name="T20" fmla="*/ 1602 w 2016"/>
                  <a:gd name="T21" fmla="*/ 1794 h 2016"/>
                  <a:gd name="T22" fmla="*/ 1415 w 2016"/>
                  <a:gd name="T23" fmla="*/ 1828 h 2016"/>
                  <a:gd name="T24" fmla="*/ 1008 w 2016"/>
                  <a:gd name="T25" fmla="*/ 1834 h 2016"/>
                  <a:gd name="T26" fmla="*/ 601 w 2016"/>
                  <a:gd name="T27" fmla="*/ 1828 h 2016"/>
                  <a:gd name="T28" fmla="*/ 414 w 2016"/>
                  <a:gd name="T29" fmla="*/ 1794 h 2016"/>
                  <a:gd name="T30" fmla="*/ 298 w 2016"/>
                  <a:gd name="T31" fmla="*/ 1718 h 2016"/>
                  <a:gd name="T32" fmla="*/ 222 w 2016"/>
                  <a:gd name="T33" fmla="*/ 1602 h 2016"/>
                  <a:gd name="T34" fmla="*/ 188 w 2016"/>
                  <a:gd name="T35" fmla="*/ 1415 h 2016"/>
                  <a:gd name="T36" fmla="*/ 182 w 2016"/>
                  <a:gd name="T37" fmla="*/ 1008 h 2016"/>
                  <a:gd name="T38" fmla="*/ 188 w 2016"/>
                  <a:gd name="T39" fmla="*/ 601 h 2016"/>
                  <a:gd name="T40" fmla="*/ 222 w 2016"/>
                  <a:gd name="T41" fmla="*/ 414 h 2016"/>
                  <a:gd name="T42" fmla="*/ 298 w 2016"/>
                  <a:gd name="T43" fmla="*/ 298 h 2016"/>
                  <a:gd name="T44" fmla="*/ 414 w 2016"/>
                  <a:gd name="T45" fmla="*/ 222 h 2016"/>
                  <a:gd name="T46" fmla="*/ 601 w 2016"/>
                  <a:gd name="T47" fmla="*/ 188 h 2016"/>
                  <a:gd name="T48" fmla="*/ 1008 w 2016"/>
                  <a:gd name="T49" fmla="*/ 182 h 2016"/>
                  <a:gd name="T50" fmla="*/ 1008 w 2016"/>
                  <a:gd name="T51" fmla="*/ 0 h 2016"/>
                  <a:gd name="T52" fmla="*/ 593 w 2016"/>
                  <a:gd name="T53" fmla="*/ 6 h 2016"/>
                  <a:gd name="T54" fmla="*/ 348 w 2016"/>
                  <a:gd name="T55" fmla="*/ 53 h 2016"/>
                  <a:gd name="T56" fmla="*/ 169 w 2016"/>
                  <a:gd name="T57" fmla="*/ 169 h 2016"/>
                  <a:gd name="T58" fmla="*/ 53 w 2016"/>
                  <a:gd name="T59" fmla="*/ 348 h 2016"/>
                  <a:gd name="T60" fmla="*/ 6 w 2016"/>
                  <a:gd name="T61" fmla="*/ 593 h 2016"/>
                  <a:gd name="T62" fmla="*/ 0 w 2016"/>
                  <a:gd name="T63" fmla="*/ 1008 h 2016"/>
                  <a:gd name="T64" fmla="*/ 6 w 2016"/>
                  <a:gd name="T65" fmla="*/ 1423 h 2016"/>
                  <a:gd name="T66" fmla="*/ 53 w 2016"/>
                  <a:gd name="T67" fmla="*/ 1668 h 2016"/>
                  <a:gd name="T68" fmla="*/ 169 w 2016"/>
                  <a:gd name="T69" fmla="*/ 1847 h 2016"/>
                  <a:gd name="T70" fmla="*/ 348 w 2016"/>
                  <a:gd name="T71" fmla="*/ 1963 h 2016"/>
                  <a:gd name="T72" fmla="*/ 593 w 2016"/>
                  <a:gd name="T73" fmla="*/ 2010 h 2016"/>
                  <a:gd name="T74" fmla="*/ 1008 w 2016"/>
                  <a:gd name="T75" fmla="*/ 2016 h 2016"/>
                  <a:gd name="T76" fmla="*/ 1423 w 2016"/>
                  <a:gd name="T77" fmla="*/ 2010 h 2016"/>
                  <a:gd name="T78" fmla="*/ 1668 w 2016"/>
                  <a:gd name="T79" fmla="*/ 1963 h 2016"/>
                  <a:gd name="T80" fmla="*/ 1847 w 2016"/>
                  <a:gd name="T81" fmla="*/ 1847 h 2016"/>
                  <a:gd name="T82" fmla="*/ 1963 w 2016"/>
                  <a:gd name="T83" fmla="*/ 1668 h 2016"/>
                  <a:gd name="T84" fmla="*/ 2010 w 2016"/>
                  <a:gd name="T85" fmla="*/ 1423 h 2016"/>
                  <a:gd name="T86" fmla="*/ 2016 w 2016"/>
                  <a:gd name="T87" fmla="*/ 1008 h 2016"/>
                  <a:gd name="T88" fmla="*/ 2010 w 2016"/>
                  <a:gd name="T89" fmla="*/ 593 h 2016"/>
                  <a:gd name="T90" fmla="*/ 1963 w 2016"/>
                  <a:gd name="T91" fmla="*/ 348 h 2016"/>
                  <a:gd name="T92" fmla="*/ 1847 w 2016"/>
                  <a:gd name="T93" fmla="*/ 169 h 2016"/>
                  <a:gd name="T94" fmla="*/ 1668 w 2016"/>
                  <a:gd name="T95" fmla="*/ 53 h 2016"/>
                  <a:gd name="T96" fmla="*/ 1423 w 2016"/>
                  <a:gd name="T97" fmla="*/ 6 h 2016"/>
                  <a:gd name="T98" fmla="*/ 1008 w 2016"/>
                  <a:gd name="T99" fmla="*/ 0 h 2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16" h="2016">
                    <a:moveTo>
                      <a:pt x="1008" y="182"/>
                    </a:moveTo>
                    <a:cubicBezTo>
                      <a:pt x="1277" y="182"/>
                      <a:pt x="1309" y="183"/>
                      <a:pt x="1415" y="188"/>
                    </a:cubicBezTo>
                    <a:cubicBezTo>
                      <a:pt x="1513" y="192"/>
                      <a:pt x="1567" y="209"/>
                      <a:pt x="1602" y="222"/>
                    </a:cubicBezTo>
                    <a:cubicBezTo>
                      <a:pt x="1649" y="241"/>
                      <a:pt x="1683" y="263"/>
                      <a:pt x="1718" y="298"/>
                    </a:cubicBezTo>
                    <a:cubicBezTo>
                      <a:pt x="1753" y="333"/>
                      <a:pt x="1775" y="367"/>
                      <a:pt x="1794" y="414"/>
                    </a:cubicBezTo>
                    <a:cubicBezTo>
                      <a:pt x="1807" y="449"/>
                      <a:pt x="1824" y="503"/>
                      <a:pt x="1828" y="601"/>
                    </a:cubicBezTo>
                    <a:cubicBezTo>
                      <a:pt x="1833" y="707"/>
                      <a:pt x="1834" y="739"/>
                      <a:pt x="1834" y="1008"/>
                    </a:cubicBezTo>
                    <a:cubicBezTo>
                      <a:pt x="1834" y="1277"/>
                      <a:pt x="1833" y="1309"/>
                      <a:pt x="1828" y="1415"/>
                    </a:cubicBezTo>
                    <a:cubicBezTo>
                      <a:pt x="1824" y="1513"/>
                      <a:pt x="1807" y="1567"/>
                      <a:pt x="1794" y="1602"/>
                    </a:cubicBezTo>
                    <a:cubicBezTo>
                      <a:pt x="1775" y="1649"/>
                      <a:pt x="1753" y="1683"/>
                      <a:pt x="1718" y="1718"/>
                    </a:cubicBezTo>
                    <a:cubicBezTo>
                      <a:pt x="1683" y="1753"/>
                      <a:pt x="1649" y="1775"/>
                      <a:pt x="1602" y="1794"/>
                    </a:cubicBezTo>
                    <a:cubicBezTo>
                      <a:pt x="1567" y="1807"/>
                      <a:pt x="1513" y="1824"/>
                      <a:pt x="1415" y="1828"/>
                    </a:cubicBezTo>
                    <a:cubicBezTo>
                      <a:pt x="1309" y="1833"/>
                      <a:pt x="1277" y="1834"/>
                      <a:pt x="1008" y="1834"/>
                    </a:cubicBezTo>
                    <a:cubicBezTo>
                      <a:pt x="739" y="1834"/>
                      <a:pt x="707" y="1833"/>
                      <a:pt x="601" y="1828"/>
                    </a:cubicBezTo>
                    <a:cubicBezTo>
                      <a:pt x="503" y="1824"/>
                      <a:pt x="449" y="1807"/>
                      <a:pt x="414" y="1794"/>
                    </a:cubicBezTo>
                    <a:cubicBezTo>
                      <a:pt x="367" y="1775"/>
                      <a:pt x="333" y="1753"/>
                      <a:pt x="298" y="1718"/>
                    </a:cubicBezTo>
                    <a:cubicBezTo>
                      <a:pt x="263" y="1683"/>
                      <a:pt x="241" y="1649"/>
                      <a:pt x="222" y="1602"/>
                    </a:cubicBezTo>
                    <a:cubicBezTo>
                      <a:pt x="209" y="1567"/>
                      <a:pt x="192" y="1513"/>
                      <a:pt x="188" y="1415"/>
                    </a:cubicBezTo>
                    <a:cubicBezTo>
                      <a:pt x="183" y="1309"/>
                      <a:pt x="182" y="1277"/>
                      <a:pt x="182" y="1008"/>
                    </a:cubicBezTo>
                    <a:cubicBezTo>
                      <a:pt x="182" y="739"/>
                      <a:pt x="183" y="707"/>
                      <a:pt x="188" y="601"/>
                    </a:cubicBezTo>
                    <a:cubicBezTo>
                      <a:pt x="192" y="503"/>
                      <a:pt x="209" y="449"/>
                      <a:pt x="222" y="414"/>
                    </a:cubicBezTo>
                    <a:cubicBezTo>
                      <a:pt x="241" y="367"/>
                      <a:pt x="263" y="333"/>
                      <a:pt x="298" y="298"/>
                    </a:cubicBezTo>
                    <a:cubicBezTo>
                      <a:pt x="333" y="263"/>
                      <a:pt x="367" y="241"/>
                      <a:pt x="414" y="222"/>
                    </a:cubicBezTo>
                    <a:cubicBezTo>
                      <a:pt x="449" y="209"/>
                      <a:pt x="503" y="192"/>
                      <a:pt x="601" y="188"/>
                    </a:cubicBezTo>
                    <a:cubicBezTo>
                      <a:pt x="707" y="183"/>
                      <a:pt x="739" y="182"/>
                      <a:pt x="1008" y="182"/>
                    </a:cubicBezTo>
                    <a:moveTo>
                      <a:pt x="1008" y="0"/>
                    </a:moveTo>
                    <a:cubicBezTo>
                      <a:pt x="734" y="0"/>
                      <a:pt x="700" y="1"/>
                      <a:pt x="593" y="6"/>
                    </a:cubicBezTo>
                    <a:cubicBezTo>
                      <a:pt x="485" y="11"/>
                      <a:pt x="412" y="28"/>
                      <a:pt x="348" y="53"/>
                    </a:cubicBezTo>
                    <a:cubicBezTo>
                      <a:pt x="282" y="79"/>
                      <a:pt x="225" y="113"/>
                      <a:pt x="169" y="169"/>
                    </a:cubicBezTo>
                    <a:cubicBezTo>
                      <a:pt x="113" y="225"/>
                      <a:pt x="79" y="282"/>
                      <a:pt x="53" y="348"/>
                    </a:cubicBezTo>
                    <a:cubicBezTo>
                      <a:pt x="28" y="412"/>
                      <a:pt x="11" y="485"/>
                      <a:pt x="6" y="593"/>
                    </a:cubicBezTo>
                    <a:cubicBezTo>
                      <a:pt x="1" y="700"/>
                      <a:pt x="0" y="734"/>
                      <a:pt x="0" y="1008"/>
                    </a:cubicBezTo>
                    <a:cubicBezTo>
                      <a:pt x="0" y="1282"/>
                      <a:pt x="1" y="1316"/>
                      <a:pt x="6" y="1423"/>
                    </a:cubicBezTo>
                    <a:cubicBezTo>
                      <a:pt x="11" y="1531"/>
                      <a:pt x="28" y="1604"/>
                      <a:pt x="53" y="1668"/>
                    </a:cubicBezTo>
                    <a:cubicBezTo>
                      <a:pt x="79" y="1734"/>
                      <a:pt x="113" y="1791"/>
                      <a:pt x="169" y="1847"/>
                    </a:cubicBezTo>
                    <a:cubicBezTo>
                      <a:pt x="225" y="1903"/>
                      <a:pt x="282" y="1937"/>
                      <a:pt x="348" y="1963"/>
                    </a:cubicBezTo>
                    <a:cubicBezTo>
                      <a:pt x="412" y="1988"/>
                      <a:pt x="485" y="2005"/>
                      <a:pt x="593" y="2010"/>
                    </a:cubicBezTo>
                    <a:cubicBezTo>
                      <a:pt x="700" y="2015"/>
                      <a:pt x="734" y="2016"/>
                      <a:pt x="1008" y="2016"/>
                    </a:cubicBezTo>
                    <a:cubicBezTo>
                      <a:pt x="1282" y="2016"/>
                      <a:pt x="1316" y="2015"/>
                      <a:pt x="1423" y="2010"/>
                    </a:cubicBezTo>
                    <a:cubicBezTo>
                      <a:pt x="1531" y="2005"/>
                      <a:pt x="1604" y="1988"/>
                      <a:pt x="1668" y="1963"/>
                    </a:cubicBezTo>
                    <a:cubicBezTo>
                      <a:pt x="1734" y="1937"/>
                      <a:pt x="1791" y="1903"/>
                      <a:pt x="1847" y="1847"/>
                    </a:cubicBezTo>
                    <a:cubicBezTo>
                      <a:pt x="1903" y="1791"/>
                      <a:pt x="1937" y="1734"/>
                      <a:pt x="1963" y="1668"/>
                    </a:cubicBezTo>
                    <a:cubicBezTo>
                      <a:pt x="1988" y="1604"/>
                      <a:pt x="2005" y="1531"/>
                      <a:pt x="2010" y="1423"/>
                    </a:cubicBezTo>
                    <a:cubicBezTo>
                      <a:pt x="2015" y="1316"/>
                      <a:pt x="2016" y="1282"/>
                      <a:pt x="2016" y="1008"/>
                    </a:cubicBezTo>
                    <a:cubicBezTo>
                      <a:pt x="2016" y="734"/>
                      <a:pt x="2015" y="700"/>
                      <a:pt x="2010" y="593"/>
                    </a:cubicBezTo>
                    <a:cubicBezTo>
                      <a:pt x="2005" y="485"/>
                      <a:pt x="1988" y="412"/>
                      <a:pt x="1963" y="348"/>
                    </a:cubicBezTo>
                    <a:cubicBezTo>
                      <a:pt x="1937" y="282"/>
                      <a:pt x="1903" y="225"/>
                      <a:pt x="1847" y="169"/>
                    </a:cubicBezTo>
                    <a:cubicBezTo>
                      <a:pt x="1791" y="113"/>
                      <a:pt x="1734" y="79"/>
                      <a:pt x="1668" y="53"/>
                    </a:cubicBezTo>
                    <a:cubicBezTo>
                      <a:pt x="1604" y="28"/>
                      <a:pt x="1531" y="11"/>
                      <a:pt x="1423" y="6"/>
                    </a:cubicBezTo>
                    <a:cubicBezTo>
                      <a:pt x="1316" y="1"/>
                      <a:pt x="1282" y="0"/>
                      <a:pt x="1008" y="0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C076922-9A80-4B8C-AAD2-A8450426352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389916" y="2775760"/>
                <a:ext cx="196875" cy="196875"/>
              </a:xfrm>
              <a:custGeom>
                <a:avLst/>
                <a:gdLst>
                  <a:gd name="T0" fmla="*/ 517 w 1034"/>
                  <a:gd name="T1" fmla="*/ 0 h 1034"/>
                  <a:gd name="T2" fmla="*/ 0 w 1034"/>
                  <a:gd name="T3" fmla="*/ 517 h 1034"/>
                  <a:gd name="T4" fmla="*/ 517 w 1034"/>
                  <a:gd name="T5" fmla="*/ 1034 h 1034"/>
                  <a:gd name="T6" fmla="*/ 1034 w 1034"/>
                  <a:gd name="T7" fmla="*/ 517 h 1034"/>
                  <a:gd name="T8" fmla="*/ 517 w 1034"/>
                  <a:gd name="T9" fmla="*/ 0 h 1034"/>
                  <a:gd name="T10" fmla="*/ 517 w 1034"/>
                  <a:gd name="T11" fmla="*/ 853 h 1034"/>
                  <a:gd name="T12" fmla="*/ 181 w 1034"/>
                  <a:gd name="T13" fmla="*/ 517 h 1034"/>
                  <a:gd name="T14" fmla="*/ 517 w 1034"/>
                  <a:gd name="T15" fmla="*/ 181 h 1034"/>
                  <a:gd name="T16" fmla="*/ 853 w 1034"/>
                  <a:gd name="T17" fmla="*/ 517 h 1034"/>
                  <a:gd name="T18" fmla="*/ 517 w 1034"/>
                  <a:gd name="T19" fmla="*/ 853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4" h="1034">
                    <a:moveTo>
                      <a:pt x="517" y="0"/>
                    </a:moveTo>
                    <a:cubicBezTo>
                      <a:pt x="231" y="0"/>
                      <a:pt x="0" y="231"/>
                      <a:pt x="0" y="517"/>
                    </a:cubicBezTo>
                    <a:cubicBezTo>
                      <a:pt x="0" y="803"/>
                      <a:pt x="231" y="1034"/>
                      <a:pt x="517" y="1034"/>
                    </a:cubicBezTo>
                    <a:cubicBezTo>
                      <a:pt x="803" y="1034"/>
                      <a:pt x="1034" y="803"/>
                      <a:pt x="1034" y="517"/>
                    </a:cubicBezTo>
                    <a:cubicBezTo>
                      <a:pt x="1034" y="231"/>
                      <a:pt x="803" y="0"/>
                      <a:pt x="517" y="0"/>
                    </a:cubicBezTo>
                    <a:close/>
                    <a:moveTo>
                      <a:pt x="517" y="853"/>
                    </a:moveTo>
                    <a:cubicBezTo>
                      <a:pt x="331" y="853"/>
                      <a:pt x="181" y="703"/>
                      <a:pt x="181" y="517"/>
                    </a:cubicBezTo>
                    <a:cubicBezTo>
                      <a:pt x="181" y="331"/>
                      <a:pt x="331" y="181"/>
                      <a:pt x="517" y="181"/>
                    </a:cubicBezTo>
                    <a:cubicBezTo>
                      <a:pt x="703" y="181"/>
                      <a:pt x="853" y="331"/>
                      <a:pt x="853" y="517"/>
                    </a:cubicBezTo>
                    <a:cubicBezTo>
                      <a:pt x="853" y="703"/>
                      <a:pt x="703" y="853"/>
                      <a:pt x="517" y="853"/>
                    </a:cubicBezTo>
                    <a:close/>
                  </a:path>
                </a:pathLst>
              </a:cu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Oval 7">
                <a:extLst>
                  <a:ext uri="{FF2B5EF4-FFF2-40B4-BE49-F238E27FC236}">
                    <a16:creationId xmlns:a16="http://schemas.microsoft.com/office/drawing/2014/main" id="{C440F010-AD08-48DE-A162-07A7BB051D2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3567723" y="2748727"/>
                <a:ext cx="46101" cy="46101"/>
              </a:xfrm>
              <a:prstGeom prst="ellipse">
                <a:avLst/>
              </a:prstGeom>
              <a:solidFill>
                <a:srgbClr val="003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3" name="Graphic 22">
            <a:extLst>
              <a:ext uri="{FF2B5EF4-FFF2-40B4-BE49-F238E27FC236}">
                <a16:creationId xmlns:a16="http://schemas.microsoft.com/office/drawing/2014/main" id="{BB7DCF77-C63C-4BBE-88C9-6A8B122B82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654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686675" y="736722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53138" y="5075895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53138" y="1002219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ECC0639-96E3-412C-BC90-5540FE2BEC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01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939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US" sz="1000" b="0" noProof="0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15361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imple Cover Slide layout">
    <p:bg>
      <p:bgPr>
        <a:gradFill>
          <a:gsLst>
            <a:gs pos="0">
              <a:schemeClr val="accent2"/>
            </a:gs>
            <a:gs pos="100000">
              <a:schemeClr val="accent1"/>
            </a:gs>
          </a:gsLst>
          <a:lin ang="21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0F7888-7839-491A-9564-88C2F0BFF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6" imgW="354" imgH="355" progId="TCLayout.ActiveDocument.1">
                  <p:embed/>
                </p:oleObj>
              </mc:Choice>
              <mc:Fallback>
                <p:oleObj name="think-cell Slide" r:id="rId16" imgW="354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0F7888-7839-491A-9564-88C2F0BFF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302520-C4F3-4894-AD22-E501BA14A2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8916" y="3429000"/>
            <a:ext cx="9144000" cy="2387600"/>
          </a:xfrm>
        </p:spPr>
        <p:txBody>
          <a:bodyPr vert="horz"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1A3548-CF3F-4978-8AD0-7A392F4C7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8916" y="5921121"/>
            <a:ext cx="7118555" cy="62547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8B23890-56AA-4294-9F54-BA5C4E207430}"/>
              </a:ext>
            </a:extLst>
          </p:cNvPr>
          <p:cNvGrpSpPr/>
          <p:nvPr/>
        </p:nvGrpSpPr>
        <p:grpSpPr>
          <a:xfrm>
            <a:off x="6502854" y="1312607"/>
            <a:ext cx="5689147" cy="5545394"/>
            <a:chOff x="6502854" y="1312607"/>
            <a:chExt cx="5689147" cy="554539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CE2E3E8-E4F9-4BCC-9DBD-4C38D3DB3A32}"/>
                </a:ext>
              </a:extLst>
            </p:cNvPr>
            <p:cNvSpPr/>
            <p:nvPr userDrawn="1"/>
          </p:nvSpPr>
          <p:spPr>
            <a:xfrm>
              <a:off x="6606436" y="3085351"/>
              <a:ext cx="5585565" cy="3772650"/>
            </a:xfrm>
            <a:custGeom>
              <a:avLst/>
              <a:gdLst>
                <a:gd name="connsiteX0" fmla="*/ 2845909 w 2845909"/>
                <a:gd name="connsiteY0" fmla="*/ 0 h 1922208"/>
                <a:gd name="connsiteX1" fmla="*/ 2845909 w 2845909"/>
                <a:gd name="connsiteY1" fmla="*/ 1922208 h 1922208"/>
                <a:gd name="connsiteX2" fmla="*/ 0 w 2845909"/>
                <a:gd name="connsiteY2" fmla="*/ 1922208 h 1922208"/>
                <a:gd name="connsiteX3" fmla="*/ 2845683 w 2845909"/>
                <a:gd name="connsiteY3" fmla="*/ 806 h 1922208"/>
                <a:gd name="connsiteX4" fmla="*/ 2845909 w 2845909"/>
                <a:gd name="connsiteY4" fmla="*/ 0 h 192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5909" h="1922208">
                  <a:moveTo>
                    <a:pt x="2845909" y="0"/>
                  </a:moveTo>
                  <a:lnTo>
                    <a:pt x="2845909" y="1922208"/>
                  </a:lnTo>
                  <a:lnTo>
                    <a:pt x="0" y="1922208"/>
                  </a:lnTo>
                  <a:cubicBezTo>
                    <a:pt x="1337059" y="1922208"/>
                    <a:pt x="2468426" y="1113969"/>
                    <a:pt x="2845683" y="806"/>
                  </a:cubicBezTo>
                  <a:lnTo>
                    <a:pt x="28459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70D673C-BED8-45A4-ABC6-DA3B64ED63E0}"/>
                </a:ext>
              </a:extLst>
            </p:cNvPr>
            <p:cNvSpPr/>
            <p:nvPr userDrawn="1"/>
          </p:nvSpPr>
          <p:spPr>
            <a:xfrm>
              <a:off x="6502854" y="1312607"/>
              <a:ext cx="5689145" cy="5545394"/>
            </a:xfrm>
            <a:custGeom>
              <a:avLst/>
              <a:gdLst>
                <a:gd name="connsiteX0" fmla="*/ 2898684 w 2898684"/>
                <a:gd name="connsiteY0" fmla="*/ 0 h 2825441"/>
                <a:gd name="connsiteX1" fmla="*/ 2898684 w 2898684"/>
                <a:gd name="connsiteY1" fmla="*/ 978517 h 2825441"/>
                <a:gd name="connsiteX2" fmla="*/ 2847590 w 2898684"/>
                <a:gd name="connsiteY2" fmla="*/ 1109061 h 2825441"/>
                <a:gd name="connsiteX3" fmla="*/ 53310 w 2898684"/>
                <a:gd name="connsiteY3" fmla="*/ 2825441 h 2825441"/>
                <a:gd name="connsiteX4" fmla="*/ 0 w 2898684"/>
                <a:gd name="connsiteY4" fmla="*/ 2822996 h 2825441"/>
                <a:gd name="connsiteX5" fmla="*/ 63233 w 2898684"/>
                <a:gd name="connsiteY5" fmla="*/ 2821308 h 2825441"/>
                <a:gd name="connsiteX6" fmla="*/ 2864223 w 2898684"/>
                <a:gd name="connsiteY6" fmla="*/ 251285 h 2825441"/>
                <a:gd name="connsiteX7" fmla="*/ 2898684 w 2898684"/>
                <a:gd name="connsiteY7" fmla="*/ 0 h 282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8684" h="2825441">
                  <a:moveTo>
                    <a:pt x="2898684" y="0"/>
                  </a:moveTo>
                  <a:lnTo>
                    <a:pt x="2898684" y="978517"/>
                  </a:lnTo>
                  <a:lnTo>
                    <a:pt x="2847590" y="1109061"/>
                  </a:lnTo>
                  <a:cubicBezTo>
                    <a:pt x="2403087" y="2115075"/>
                    <a:pt x="1319507" y="2825441"/>
                    <a:pt x="53310" y="2825441"/>
                  </a:cubicBezTo>
                  <a:lnTo>
                    <a:pt x="0" y="2822996"/>
                  </a:lnTo>
                  <a:lnTo>
                    <a:pt x="63233" y="2821308"/>
                  </a:lnTo>
                  <a:cubicBezTo>
                    <a:pt x="1460966" y="2746547"/>
                    <a:pt x="2607131" y="1665640"/>
                    <a:pt x="2864223" y="251285"/>
                  </a:cubicBezTo>
                  <a:lnTo>
                    <a:pt x="2898684" y="0"/>
                  </a:lnTo>
                  <a:close/>
                </a:path>
              </a:pathLst>
            </a:custGeom>
            <a:gradFill>
              <a:gsLst>
                <a:gs pos="45000">
                  <a:schemeClr val="accent1"/>
                </a:gs>
                <a:gs pos="100000">
                  <a:schemeClr val="accent2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05109CB-D68B-4F3D-BAA9-C56380CF3C4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742" y="6223380"/>
            <a:ext cx="2003715" cy="47799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F6E6BF-A6E9-480D-829A-AF56BFEEC4C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BBAF3E-F18F-496B-B992-CE5E529EF5C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6639B3-D866-4730-82FD-DB26CA1CCD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58468A-E9DB-477E-82E0-4AF326E82D9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E5E1C3-04E0-46DD-AE0F-3B75E6EA19C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E5EB7F-4E2B-449E-A2BD-6787A607AEC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66DF2F-D310-4E27-BDD5-1F598532806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6D83E5-1CB4-427A-832D-8F88E7FF3B7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1410C5-2A31-4A20-B299-284D678DC94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FC0A8-B9A3-4A12-851C-3AF25FB5AC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AF8201-2434-442F-B292-8E0776AD862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246041-20DE-4D14-A1A2-A5E4BB72AF15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20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9234208-397C-4437-828F-AA123FC91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234208-397C-4437-828F-AA123FC91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53371"/>
            <a:ext cx="5609734" cy="761738"/>
          </a:xfrm>
        </p:spPr>
        <p:txBody>
          <a:bodyPr vert="horz"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green, game&#10;&#10;Description automatically generated">
            <a:extLst>
              <a:ext uri="{FF2B5EF4-FFF2-40B4-BE49-F238E27FC236}">
                <a16:creationId xmlns:a16="http://schemas.microsoft.com/office/drawing/2014/main" id="{2935E1D8-64F0-459F-ACD7-46A7EB00F2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3297"/>
          <a:stretch/>
        </p:blipFill>
        <p:spPr>
          <a:xfrm>
            <a:off x="6778907" y="451412"/>
            <a:ext cx="5413093" cy="5597646"/>
          </a:xfrm>
          <a:prstGeom prst="rect">
            <a:avLst/>
          </a:prstGeom>
        </p:spPr>
      </p:pic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862918C-CB37-4C0B-9E5A-00EBA06E61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8052" y="0"/>
            <a:ext cx="4563948" cy="5814000"/>
          </a:xfrm>
          <a:custGeom>
            <a:avLst/>
            <a:gdLst>
              <a:gd name="connsiteX0" fmla="*/ 1186127 w 4563948"/>
              <a:gd name="connsiteY0" fmla="*/ 0 h 5814000"/>
              <a:gd name="connsiteX1" fmla="*/ 4563948 w 4563948"/>
              <a:gd name="connsiteY1" fmla="*/ 0 h 5814000"/>
              <a:gd name="connsiteX2" fmla="*/ 4563948 w 4563948"/>
              <a:gd name="connsiteY2" fmla="*/ 5556521 h 5814000"/>
              <a:gd name="connsiteX3" fmla="*/ 4264194 w 4563948"/>
              <a:gd name="connsiteY3" fmla="*/ 5666232 h 5814000"/>
              <a:gd name="connsiteX4" fmla="*/ 3286800 w 4563948"/>
              <a:gd name="connsiteY4" fmla="*/ 5814000 h 5814000"/>
              <a:gd name="connsiteX5" fmla="*/ 0 w 4563948"/>
              <a:gd name="connsiteY5" fmla="*/ 2527200 h 5814000"/>
              <a:gd name="connsiteX6" fmla="*/ 962681 w 4563948"/>
              <a:gd name="connsiteY6" fmla="*/ 203081 h 581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63948" h="5814000">
                <a:moveTo>
                  <a:pt x="1186127" y="0"/>
                </a:moveTo>
                <a:lnTo>
                  <a:pt x="4563948" y="0"/>
                </a:lnTo>
                <a:lnTo>
                  <a:pt x="4563948" y="5556521"/>
                </a:lnTo>
                <a:lnTo>
                  <a:pt x="4264194" y="5666232"/>
                </a:lnTo>
                <a:cubicBezTo>
                  <a:pt x="3955436" y="5762266"/>
                  <a:pt x="3627160" y="5814000"/>
                  <a:pt x="3286800" y="5814000"/>
                </a:cubicBezTo>
                <a:cubicBezTo>
                  <a:pt x="1471550" y="5814000"/>
                  <a:pt x="0" y="4342450"/>
                  <a:pt x="0" y="2527200"/>
                </a:cubicBezTo>
                <a:cubicBezTo>
                  <a:pt x="0" y="1619575"/>
                  <a:pt x="367888" y="797875"/>
                  <a:pt x="962681" y="203081"/>
                </a:cubicBez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rIns="252000" anchor="ctr" anchorCtr="0">
            <a:noAutofit/>
          </a:bodyPr>
          <a:lstStyle>
            <a:lvl1pPr marL="228600" indent="0" algn="ctr">
              <a:spcBef>
                <a:spcPts val="0"/>
              </a:spcBef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04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esentation Contents Slide -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7892F2-6B9C-4D7E-B652-78221AEA60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7892F2-6B9C-4D7E-B652-78221AEA6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D70D7B-85F1-40D6-909D-40139EDC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FBDE0-A381-4A03-8C91-A16E8EDE2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971" y="1665736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A907179-DE5C-49D4-8987-41B752D2A70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658200" y="1665735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56D38D-4FD2-4F10-AC71-44823099155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78971" y="2368269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06E9AF1-4175-4FD5-B780-B9F8348B4F8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658200" y="2368268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9722445-D8D1-427C-B831-DD42EFB6AF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8971" y="3070802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E2EED1-B4E6-4DFD-9ACA-930AC525852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2658200" y="3070801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9241A56-EDC9-4250-822F-B6AFD5153F4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78971" y="3773335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2FB37EE-0539-4091-B7E3-3693A285E6CD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2658200" y="3773334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681FE796-B310-4FB8-ACFF-1A8EC7FA5163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8971" y="4475868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E032B9F-059D-4EF4-8E6C-1F2C05C924CB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658200" y="4475867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5347BEB-FC30-4B9E-86C8-C5A996BEBC9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78971" y="5178401"/>
            <a:ext cx="1939961" cy="508033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3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D6EE948-E176-4938-B6E7-4B20DF2C3554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2658200" y="5178400"/>
            <a:ext cx="8104632" cy="50803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45A35253-723A-4FF6-99CA-E50D5E1B88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" y="6370637"/>
            <a:ext cx="11668124" cy="3079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/>
              <a:t>DRAFT –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932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mple text Slide - one 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8AF098-C8CB-4FB4-A222-22F6F5815E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54" imgH="355" progId="TCLayout.ActiveDocument.1">
                  <p:embed/>
                </p:oleObj>
              </mc:Choice>
              <mc:Fallback>
                <p:oleObj name="think-cell Slide" r:id="rId7" imgW="354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8AF098-C8CB-4FB4-A222-22F6F5815E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D70D7B-85F1-40D6-909D-40139EDC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FBDE0-A381-4A03-8C91-A16E8EDE2B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2pPr>
            <a:lvl3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3pPr>
            <a:lvl4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4pPr>
            <a:lvl5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ACD-C5B5-4A1B-A465-4EA655A3218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460120-701E-45D1-865F-982D1BE2532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1F2D3C-6931-4710-815C-843BC6E97E1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69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B73EC-708C-4C4E-B825-C1DD65373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B73EC-708C-4C4E-B825-C1DD65373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D70D7B-85F1-40D6-909D-40139EDC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FBDE0-A381-4A03-8C91-A16E8EDE2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4959"/>
            <a:ext cx="10515600" cy="4592003"/>
          </a:xfrm>
        </p:spPr>
        <p:txBody>
          <a:bodyPr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2pPr>
            <a:lvl3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3pPr>
            <a:lvl4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4pPr>
            <a:lvl5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23C10B-95CE-40DF-AADE-9FE9233365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995820"/>
            <a:ext cx="10515600" cy="500062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16969D00-F73A-4987-9B68-095457A8D4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804" y="6248400"/>
            <a:ext cx="942975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821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 Slide with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FC8D4C-A359-4A92-BCA9-FBFE86900D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FC8D4C-A359-4A92-BCA9-FBFE86900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EEADED5-E76A-4AAB-B9E0-2EEB3B9773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blipFill>
            <a:blip r:embed="rId6"/>
            <a:stretch>
              <a:fillRect l="-1" t="-8533" r="-264" b="-4889"/>
            </a:stretch>
          </a:blipFill>
        </p:spPr>
        <p:txBody>
          <a:bodyPr anchor="t"/>
          <a:lstStyle>
            <a:lvl1pPr marL="228600" indent="0">
              <a:buNone/>
              <a:defRPr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302520-C4F3-4894-AD22-E501BA14A2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8916" y="3432303"/>
            <a:ext cx="9144000" cy="2387600"/>
          </a:xfrm>
        </p:spPr>
        <p:txBody>
          <a:bodyPr vert="horz" anchor="b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1A3548-CF3F-4978-8AD0-7A392F4C7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8916" y="5921121"/>
            <a:ext cx="7118555" cy="62547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1CD2FD-9C4C-4E07-8BF6-44CF77C213C6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768788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E656F6F-62B1-42BB-9BC9-BCDFE6F099EE}"/>
              </a:ext>
            </a:extLst>
          </p:cNvPr>
          <p:cNvSpPr/>
          <p:nvPr/>
        </p:nvSpPr>
        <p:spPr>
          <a:xfrm>
            <a:off x="0" y="6384822"/>
            <a:ext cx="5101389" cy="45719"/>
          </a:xfrm>
          <a:prstGeom prst="rect">
            <a:avLst/>
          </a:prstGeom>
          <a:gradFill>
            <a:gsLst>
              <a:gs pos="7000">
                <a:srgbClr val="92D050">
                  <a:lumMod val="90000"/>
                </a:srgbClr>
              </a:gs>
              <a:gs pos="100000">
                <a:srgbClr val="269E7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3B3C1D5-8E6B-46EC-AF50-0D7E8D32447C}"/>
              </a:ext>
            </a:extLst>
          </p:cNvPr>
          <p:cNvGrpSpPr/>
          <p:nvPr/>
        </p:nvGrpSpPr>
        <p:grpSpPr>
          <a:xfrm>
            <a:off x="9293316" y="4032559"/>
            <a:ext cx="2898685" cy="2825441"/>
            <a:chOff x="9293316" y="4032559"/>
            <a:chExt cx="2898685" cy="282544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6B0B76A-9099-4809-B247-B505F5AF6992}"/>
                </a:ext>
              </a:extLst>
            </p:cNvPr>
            <p:cNvSpPr/>
            <p:nvPr userDrawn="1"/>
          </p:nvSpPr>
          <p:spPr>
            <a:xfrm>
              <a:off x="9346092" y="4935792"/>
              <a:ext cx="2845909" cy="1922208"/>
            </a:xfrm>
            <a:custGeom>
              <a:avLst/>
              <a:gdLst>
                <a:gd name="connsiteX0" fmla="*/ 2845909 w 2845909"/>
                <a:gd name="connsiteY0" fmla="*/ 0 h 1922208"/>
                <a:gd name="connsiteX1" fmla="*/ 2845909 w 2845909"/>
                <a:gd name="connsiteY1" fmla="*/ 1922208 h 1922208"/>
                <a:gd name="connsiteX2" fmla="*/ 0 w 2845909"/>
                <a:gd name="connsiteY2" fmla="*/ 1922208 h 1922208"/>
                <a:gd name="connsiteX3" fmla="*/ 2845683 w 2845909"/>
                <a:gd name="connsiteY3" fmla="*/ 806 h 1922208"/>
                <a:gd name="connsiteX4" fmla="*/ 2845909 w 2845909"/>
                <a:gd name="connsiteY4" fmla="*/ 0 h 192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5909" h="1922208">
                  <a:moveTo>
                    <a:pt x="2845909" y="0"/>
                  </a:moveTo>
                  <a:lnTo>
                    <a:pt x="2845909" y="1922208"/>
                  </a:lnTo>
                  <a:lnTo>
                    <a:pt x="0" y="1922208"/>
                  </a:lnTo>
                  <a:cubicBezTo>
                    <a:pt x="1337059" y="1922208"/>
                    <a:pt x="2468426" y="1113969"/>
                    <a:pt x="2845683" y="806"/>
                  </a:cubicBezTo>
                  <a:lnTo>
                    <a:pt x="28459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0078B0-6445-4590-82EF-662EDDC017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71525" y="6354227"/>
              <a:ext cx="869812" cy="304787"/>
            </a:xfrm>
            <a:prstGeom prst="rect">
              <a:avLst/>
            </a:prstGeom>
          </p:spPr>
        </p:pic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883133-5497-4EBC-A3CA-8A1E831C4FF1}"/>
                </a:ext>
              </a:extLst>
            </p:cNvPr>
            <p:cNvSpPr/>
            <p:nvPr userDrawn="1"/>
          </p:nvSpPr>
          <p:spPr>
            <a:xfrm>
              <a:off x="9293316" y="4032559"/>
              <a:ext cx="2898684" cy="2825441"/>
            </a:xfrm>
            <a:custGeom>
              <a:avLst/>
              <a:gdLst>
                <a:gd name="connsiteX0" fmla="*/ 2898684 w 2898684"/>
                <a:gd name="connsiteY0" fmla="*/ 0 h 2825441"/>
                <a:gd name="connsiteX1" fmla="*/ 2898684 w 2898684"/>
                <a:gd name="connsiteY1" fmla="*/ 978517 h 2825441"/>
                <a:gd name="connsiteX2" fmla="*/ 2847590 w 2898684"/>
                <a:gd name="connsiteY2" fmla="*/ 1109061 h 2825441"/>
                <a:gd name="connsiteX3" fmla="*/ 53310 w 2898684"/>
                <a:gd name="connsiteY3" fmla="*/ 2825441 h 2825441"/>
                <a:gd name="connsiteX4" fmla="*/ 0 w 2898684"/>
                <a:gd name="connsiteY4" fmla="*/ 2822996 h 2825441"/>
                <a:gd name="connsiteX5" fmla="*/ 63233 w 2898684"/>
                <a:gd name="connsiteY5" fmla="*/ 2821308 h 2825441"/>
                <a:gd name="connsiteX6" fmla="*/ 2864223 w 2898684"/>
                <a:gd name="connsiteY6" fmla="*/ 251285 h 2825441"/>
                <a:gd name="connsiteX7" fmla="*/ 2898684 w 2898684"/>
                <a:gd name="connsiteY7" fmla="*/ 0 h 282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8684" h="2825441">
                  <a:moveTo>
                    <a:pt x="2898684" y="0"/>
                  </a:moveTo>
                  <a:lnTo>
                    <a:pt x="2898684" y="978517"/>
                  </a:lnTo>
                  <a:lnTo>
                    <a:pt x="2847590" y="1109061"/>
                  </a:lnTo>
                  <a:cubicBezTo>
                    <a:pt x="2403087" y="2115075"/>
                    <a:pt x="1319507" y="2825441"/>
                    <a:pt x="53310" y="2825441"/>
                  </a:cubicBezTo>
                  <a:lnTo>
                    <a:pt x="0" y="2822996"/>
                  </a:lnTo>
                  <a:lnTo>
                    <a:pt x="63233" y="2821308"/>
                  </a:lnTo>
                  <a:cubicBezTo>
                    <a:pt x="1460966" y="2746547"/>
                    <a:pt x="2607131" y="1665640"/>
                    <a:pt x="2864223" y="251285"/>
                  </a:cubicBezTo>
                  <a:lnTo>
                    <a:pt x="2898684" y="0"/>
                  </a:lnTo>
                  <a:close/>
                </a:path>
              </a:pathLst>
            </a:custGeom>
            <a:gradFill>
              <a:gsLst>
                <a:gs pos="9000">
                  <a:schemeClr val="accent1"/>
                </a:gs>
                <a:gs pos="100000">
                  <a:schemeClr val="accent2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81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47B37-CD0D-4519-BA30-1AF8628CAF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28" imgW="354" imgH="355" progId="TCLayout.ActiveDocument.1">
                  <p:embed/>
                </p:oleObj>
              </mc:Choice>
              <mc:Fallback>
                <p:oleObj name="think-cell Slide" r:id="rId28" imgW="354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47B37-CD0D-4519-BA30-1AF8628CAF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84E30A84-83CE-E642-A4C4-CC477552B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155448"/>
            <a:ext cx="10872787" cy="795404"/>
          </a:xfrm>
        </p:spPr>
        <p:txBody>
          <a:bodyPr vert="horz"/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2C5879-4979-4E0D-8ED6-47037A7BD9C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3CFDC3-D10E-480A-9CF4-28EAD0C7A3A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6C1C19-BBF4-4452-94D5-1AA7AE76D82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1725A2-DD64-4EC0-A85B-8369C6BC49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76C644-7F61-48E8-AE29-6B99DC8311D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A29578-11CA-4863-9163-6F77E11DB9F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B92B4D-8585-4C15-B9F6-5249580B1DD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BF0E8B-B158-48B3-A3F5-4D0F0DB8F9F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C2EABE-8FB9-4D1A-A87A-FA1C89E0CF6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A94374-9E2C-44E8-8AA5-06AE79D0EE7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36BF51-1F96-4707-88F2-CBA10B251BA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44F0FF-328A-467A-843B-95C8E086A8C0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40CD782-5E7B-4D88-B8AD-3D9D4F0EFE36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C17BD98-497D-4E4D-9105-7E8E71C50E86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DB72D6-7F4F-42D0-9935-7414F2C9107F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EC691F-768E-43CD-AD83-02DC59E3CA7D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AD96E4-2110-4139-9A2B-1148383BFA42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6D1F7D-5EB6-46BB-ADD4-17336961861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7C48FC-9623-4045-A80A-472530D6850D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979D98-95C7-402A-B908-49B52E77248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0836DD-FDFB-4AE7-B66F-8A866D804AC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B3B77F-48BE-4EF2-B7FC-B62162CFF297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1891D5-6251-4BAB-A140-630607DB95F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E509E5-2C3B-447C-966B-F8D80472F194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B603B40-81CE-4539-AC65-FD6E89151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" y="6370637"/>
            <a:ext cx="11668124" cy="3079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/>
              <a:t>DRAFT –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02000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0ECB3BF8-BC19-4C58-9093-D3711D91C8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26" imgW="354" imgH="355" progId="TCLayout.ActiveDocument.1">
                  <p:embed/>
                </p:oleObj>
              </mc:Choice>
              <mc:Fallback>
                <p:oleObj name="think-cell Slide" r:id="rId126" imgW="354" imgH="355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0ECB3BF8-BC19-4C58-9093-D3711D91C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9B3C42-EC6E-4E1E-AB70-15CA1FF39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6" y="179396"/>
            <a:ext cx="11400453" cy="795404"/>
          </a:xfrm>
        </p:spPr>
        <p:txBody>
          <a:bodyPr vert="horz">
            <a:noAutofit/>
          </a:bodyPr>
          <a:lstStyle>
            <a:lvl1pPr>
              <a:defRPr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E89887-3C18-4228-A595-BDF1D62DEA7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389A65-F2FB-4151-B62B-F55A973A4CC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39CA9-C57E-4772-A27B-AD1232CF3D4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1512B4-8B11-4427-9568-A2F631A5A95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08D08F-BB48-4FB0-82B6-5D719629A85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6116D1-33FC-4F98-9409-BD1755396DB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6CF806-22EF-4CA5-B123-57E63D33EBA5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DD7217-1C5E-42CF-A9D8-D182EA0BD1B9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B6E01C-73C9-41D4-B50D-55B1244F617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5CAC4E-1DC2-4320-AF02-DD32B631A1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AE87CF-A9D0-4CA6-BC75-F6D12C84FFF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6E7882-7A4E-44B1-AE40-CB90BFD460A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8BD3AA-0EBD-42B2-AECC-BE340DA21E06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1AF3EC-CEC1-43BD-A8A6-306022624445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9977B1-84C6-4B3A-B86A-4817E7F3398F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901C04-FAFE-452E-9919-5576BB9B1EF8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426AE5-F254-4BD9-96B5-F2B09E25DCCF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E186B-4C84-48D1-924A-04BD61D17502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409AC2-BA24-4F95-855C-BD52CA21442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6E4BB3-CE47-40A4-B9F4-7875BD8E73AF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8DD879F-C9BB-4EB0-83C6-81A86C1CFB11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0CBFF5-FB4D-4506-8473-6187C227DA4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9DC94A-74BA-4CCB-BF4B-119BA76FE19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A1A763-ACA3-4CEF-8B30-216ECD15D955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A57684-F3B0-48AA-9E46-AFD734EC3438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A9758E-F859-41C6-A547-827481E799A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682695-ACCB-4FD8-B4C9-3CE1D8212D88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497C507-AAFA-4731-947B-89301CE4667B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07B6FB7-CA67-4FC4-9C69-713EBCEA0B70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E6F5189-8DA1-44C1-9158-782F9707D2F4}"/>
              </a:ext>
            </a:extLst>
          </p:cNvPr>
          <p:cNvSpPr txBox="1"/>
          <p:nvPr userDrawn="1">
            <p:custDataLst>
              <p:tags r:id="rId32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17EE99-0FC0-4593-94E7-309CF1B335F5}"/>
              </a:ext>
            </a:extLst>
          </p:cNvPr>
          <p:cNvSpPr txBox="1"/>
          <p:nvPr userDrawn="1">
            <p:custDataLst>
              <p:tags r:id="rId3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9CDD7A3-390A-40E2-A9A7-43B487866DFE}"/>
              </a:ext>
            </a:extLst>
          </p:cNvPr>
          <p:cNvSpPr txBox="1"/>
          <p:nvPr userDrawn="1">
            <p:custDataLst>
              <p:tags r:id="rId3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E6F148B-3AD6-4DED-AD42-5EC6DA7531DE}"/>
              </a:ext>
            </a:extLst>
          </p:cNvPr>
          <p:cNvSpPr txBox="1"/>
          <p:nvPr userDrawn="1">
            <p:custDataLst>
              <p:tags r:id="rId3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4DCC79F-3DBF-4828-AB64-7A83489816E6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BC59ADF-E0C9-44F4-B4D5-F5FBFB5654AC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9AEC642-A120-4EED-9600-BC038CE80E67}"/>
              </a:ext>
            </a:extLst>
          </p:cNvPr>
          <p:cNvSpPr txBox="1"/>
          <p:nvPr userDrawn="1">
            <p:custDataLst>
              <p:tags r:id="rId38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ED06010-A044-404E-AB45-7A660459E899}"/>
              </a:ext>
            </a:extLst>
          </p:cNvPr>
          <p:cNvSpPr txBox="1"/>
          <p:nvPr userDrawn="1">
            <p:custDataLst>
              <p:tags r:id="rId39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AD21156-9E4E-4B65-859C-BCE358EAADD7}"/>
              </a:ext>
            </a:extLst>
          </p:cNvPr>
          <p:cNvSpPr txBox="1"/>
          <p:nvPr userDrawn="1">
            <p:custDataLst>
              <p:tags r:id="rId40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246969-B3E8-4C06-9454-EB46884BD0B7}"/>
              </a:ext>
            </a:extLst>
          </p:cNvPr>
          <p:cNvSpPr txBox="1"/>
          <p:nvPr userDrawn="1">
            <p:custDataLst>
              <p:tags r:id="rId41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26DA06D-FBBC-4957-BFC2-63822A0EDCDA}"/>
              </a:ext>
            </a:extLst>
          </p:cNvPr>
          <p:cNvSpPr txBox="1"/>
          <p:nvPr userDrawn="1">
            <p:custDataLst>
              <p:tags r:id="rId42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452E18-4EE0-464F-9176-DA1367703980}"/>
              </a:ext>
            </a:extLst>
          </p:cNvPr>
          <p:cNvSpPr txBox="1"/>
          <p:nvPr userDrawn="1">
            <p:custDataLst>
              <p:tags r:id="rId4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D939836-4A8D-4FEB-BC71-AC4BACBFDAC3}"/>
              </a:ext>
            </a:extLst>
          </p:cNvPr>
          <p:cNvSpPr txBox="1"/>
          <p:nvPr userDrawn="1">
            <p:custDataLst>
              <p:tags r:id="rId4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EBD0C6B-36D4-4F08-A63A-C8AE0D7D3D94}"/>
              </a:ext>
            </a:extLst>
          </p:cNvPr>
          <p:cNvSpPr txBox="1"/>
          <p:nvPr userDrawn="1">
            <p:custDataLst>
              <p:tags r:id="rId4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F5B9AC7-C5BE-409F-9EBD-479109507C8D}"/>
              </a:ext>
            </a:extLst>
          </p:cNvPr>
          <p:cNvSpPr txBox="1"/>
          <p:nvPr userDrawn="1">
            <p:custDataLst>
              <p:tags r:id="rId4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76E1BA2-E166-4DBE-BE31-47F02121275A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9051052-FC95-456F-9F48-3622E549F630}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0C4F658-0B0F-41BE-BA10-1CBE21C65FCA}"/>
              </a:ext>
            </a:extLst>
          </p:cNvPr>
          <p:cNvSpPr txBox="1"/>
          <p:nvPr userDrawn="1">
            <p:custDataLst>
              <p:tags r:id="rId49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B378509-04FE-48B7-84D7-8B9500A77C5F}"/>
              </a:ext>
            </a:extLst>
          </p:cNvPr>
          <p:cNvSpPr txBox="1"/>
          <p:nvPr userDrawn="1">
            <p:custDataLst>
              <p:tags r:id="rId50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2E31626-45A6-47C5-98D7-2F2B56D830FA}"/>
              </a:ext>
            </a:extLst>
          </p:cNvPr>
          <p:cNvSpPr txBox="1"/>
          <p:nvPr userDrawn="1">
            <p:custDataLst>
              <p:tags r:id="rId51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5B72995-9AB1-47C2-9211-CC47638B5FE9}"/>
              </a:ext>
            </a:extLst>
          </p:cNvPr>
          <p:cNvSpPr txBox="1"/>
          <p:nvPr userDrawn="1">
            <p:custDataLst>
              <p:tags r:id="rId52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2F061FD-7D87-435D-B79A-AAE573B652DC}"/>
              </a:ext>
            </a:extLst>
          </p:cNvPr>
          <p:cNvSpPr txBox="1"/>
          <p:nvPr userDrawn="1">
            <p:custDataLst>
              <p:tags r:id="rId5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D52092A-631C-4CBE-BA27-89115BD5537C}"/>
              </a:ext>
            </a:extLst>
          </p:cNvPr>
          <p:cNvSpPr txBox="1"/>
          <p:nvPr userDrawn="1">
            <p:custDataLst>
              <p:tags r:id="rId5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73C6CA1-32A6-4D44-AE7D-FDDC5C08E786}"/>
              </a:ext>
            </a:extLst>
          </p:cNvPr>
          <p:cNvSpPr txBox="1"/>
          <p:nvPr userDrawn="1">
            <p:custDataLst>
              <p:tags r:id="rId5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8DB4CE-782F-42DB-A9B4-F3C9F281D50C}"/>
              </a:ext>
            </a:extLst>
          </p:cNvPr>
          <p:cNvSpPr txBox="1"/>
          <p:nvPr userDrawn="1">
            <p:custDataLst>
              <p:tags r:id="rId5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709D1E3-F1C8-4813-979B-A309FC8AF9AA}"/>
              </a:ext>
            </a:extLst>
          </p:cNvPr>
          <p:cNvSpPr txBox="1"/>
          <p:nvPr userDrawn="1">
            <p:custDataLst>
              <p:tags r:id="rId5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B52BCA7-066F-4687-91F3-EC95862A08B0}"/>
              </a:ext>
            </a:extLst>
          </p:cNvPr>
          <p:cNvSpPr txBox="1"/>
          <p:nvPr userDrawn="1">
            <p:custDataLst>
              <p:tags r:id="rId5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0B17B46-4F11-4F0E-A569-2409D45D4DAC}"/>
              </a:ext>
            </a:extLst>
          </p:cNvPr>
          <p:cNvSpPr txBox="1"/>
          <p:nvPr userDrawn="1">
            <p:custDataLst>
              <p:tags r:id="rId5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4519953-A0BC-45A6-80E1-CC7B79D92B54}"/>
              </a:ext>
            </a:extLst>
          </p:cNvPr>
          <p:cNvSpPr txBox="1"/>
          <p:nvPr userDrawn="1">
            <p:custDataLst>
              <p:tags r:id="rId6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9379666-86E5-43C2-8BDC-F28551D22C5C}"/>
              </a:ext>
            </a:extLst>
          </p:cNvPr>
          <p:cNvSpPr txBox="1"/>
          <p:nvPr userDrawn="1">
            <p:custDataLst>
              <p:tags r:id="rId6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2EB9C5F-EFC2-4F00-8259-E5F03637EA82}"/>
              </a:ext>
            </a:extLst>
          </p:cNvPr>
          <p:cNvSpPr txBox="1"/>
          <p:nvPr userDrawn="1">
            <p:custDataLst>
              <p:tags r:id="rId6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5A1D92D-65B2-422E-94F4-A2395B0C1F42}"/>
              </a:ext>
            </a:extLst>
          </p:cNvPr>
          <p:cNvSpPr txBox="1"/>
          <p:nvPr userDrawn="1">
            <p:custDataLst>
              <p:tags r:id="rId6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C87E267-57F1-4959-BE0E-2F48EB35F667}"/>
              </a:ext>
            </a:extLst>
          </p:cNvPr>
          <p:cNvSpPr txBox="1"/>
          <p:nvPr userDrawn="1">
            <p:custDataLst>
              <p:tags r:id="rId6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B13F4A4-F3BF-4728-A298-427AEB8BCE36}"/>
              </a:ext>
            </a:extLst>
          </p:cNvPr>
          <p:cNvSpPr txBox="1"/>
          <p:nvPr userDrawn="1">
            <p:custDataLst>
              <p:tags r:id="rId6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6810FD8-9584-4BEB-8BC9-F7D9681B1768}"/>
              </a:ext>
            </a:extLst>
          </p:cNvPr>
          <p:cNvSpPr txBox="1"/>
          <p:nvPr userDrawn="1">
            <p:custDataLst>
              <p:tags r:id="rId6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E6699E2-38CC-4AE3-A875-38D41DF8B0FC}"/>
              </a:ext>
            </a:extLst>
          </p:cNvPr>
          <p:cNvSpPr txBox="1"/>
          <p:nvPr userDrawn="1">
            <p:custDataLst>
              <p:tags r:id="rId6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7CEAB79-F8FB-4DE2-A0C1-0EC4D2FEF394}"/>
              </a:ext>
            </a:extLst>
          </p:cNvPr>
          <p:cNvSpPr txBox="1"/>
          <p:nvPr userDrawn="1">
            <p:custDataLst>
              <p:tags r:id="rId6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8496415-AFBB-4934-9EE4-2097772F29A5}"/>
              </a:ext>
            </a:extLst>
          </p:cNvPr>
          <p:cNvSpPr txBox="1"/>
          <p:nvPr userDrawn="1">
            <p:custDataLst>
              <p:tags r:id="rId6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23613A9-D91D-4A8E-A087-74BD7A8A9A56}"/>
              </a:ext>
            </a:extLst>
          </p:cNvPr>
          <p:cNvSpPr txBox="1"/>
          <p:nvPr userDrawn="1">
            <p:custDataLst>
              <p:tags r:id="rId7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594FF7B-898D-4A5A-A9ED-5BBC6D8BBC0F}"/>
              </a:ext>
            </a:extLst>
          </p:cNvPr>
          <p:cNvSpPr txBox="1"/>
          <p:nvPr userDrawn="1">
            <p:custDataLst>
              <p:tags r:id="rId7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62E2B81-E816-44C4-B91B-D23889F3504B}"/>
              </a:ext>
            </a:extLst>
          </p:cNvPr>
          <p:cNvSpPr txBox="1"/>
          <p:nvPr userDrawn="1">
            <p:custDataLst>
              <p:tags r:id="rId7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6A72798-0B8A-4807-B951-9A578D8BF490}"/>
              </a:ext>
            </a:extLst>
          </p:cNvPr>
          <p:cNvSpPr txBox="1"/>
          <p:nvPr userDrawn="1">
            <p:custDataLst>
              <p:tags r:id="rId7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E203AC6-556F-4ABC-B895-9DABA4306072}"/>
              </a:ext>
            </a:extLst>
          </p:cNvPr>
          <p:cNvSpPr txBox="1"/>
          <p:nvPr userDrawn="1">
            <p:custDataLst>
              <p:tags r:id="rId7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243EBBC-00AA-4488-9F7C-29026ABDE1A2}"/>
              </a:ext>
            </a:extLst>
          </p:cNvPr>
          <p:cNvSpPr txBox="1"/>
          <p:nvPr userDrawn="1">
            <p:custDataLst>
              <p:tags r:id="rId7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CC074B8-63C4-4699-A988-DE9DCBEF93F2}"/>
              </a:ext>
            </a:extLst>
          </p:cNvPr>
          <p:cNvSpPr txBox="1"/>
          <p:nvPr userDrawn="1">
            <p:custDataLst>
              <p:tags r:id="rId7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057A27F-1373-4B25-B70B-EEAC83E9229A}"/>
              </a:ext>
            </a:extLst>
          </p:cNvPr>
          <p:cNvSpPr txBox="1"/>
          <p:nvPr userDrawn="1">
            <p:custDataLst>
              <p:tags r:id="rId7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A2284F4-029C-4DEE-8A78-0C11C26C356E}"/>
              </a:ext>
            </a:extLst>
          </p:cNvPr>
          <p:cNvSpPr txBox="1"/>
          <p:nvPr userDrawn="1">
            <p:custDataLst>
              <p:tags r:id="rId7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2BFC1E5-7955-4995-80EA-229742EB76A2}"/>
              </a:ext>
            </a:extLst>
          </p:cNvPr>
          <p:cNvSpPr txBox="1"/>
          <p:nvPr userDrawn="1">
            <p:custDataLst>
              <p:tags r:id="rId7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1D9BC28-5911-407A-8B5E-EEC627E35166}"/>
              </a:ext>
            </a:extLst>
          </p:cNvPr>
          <p:cNvSpPr txBox="1"/>
          <p:nvPr userDrawn="1">
            <p:custDataLst>
              <p:tags r:id="rId8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A823AFB-E71A-4835-A902-71D2C1DE54B8}"/>
              </a:ext>
            </a:extLst>
          </p:cNvPr>
          <p:cNvSpPr txBox="1"/>
          <p:nvPr userDrawn="1">
            <p:custDataLst>
              <p:tags r:id="rId8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2C8FAF8-3C92-41A1-A712-DFB363BBA36E}"/>
              </a:ext>
            </a:extLst>
          </p:cNvPr>
          <p:cNvSpPr txBox="1"/>
          <p:nvPr userDrawn="1">
            <p:custDataLst>
              <p:tags r:id="rId8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956A6BE-86D8-46B6-847D-F553040C34E2}"/>
              </a:ext>
            </a:extLst>
          </p:cNvPr>
          <p:cNvSpPr txBox="1"/>
          <p:nvPr userDrawn="1">
            <p:custDataLst>
              <p:tags r:id="rId8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7ACCE5D-86B8-46ED-A9C3-73EFC5756B82}"/>
              </a:ext>
            </a:extLst>
          </p:cNvPr>
          <p:cNvSpPr txBox="1"/>
          <p:nvPr userDrawn="1">
            <p:custDataLst>
              <p:tags r:id="rId8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DFD39D2-DA04-4F05-9BDC-B8A1A6E7AA07}"/>
              </a:ext>
            </a:extLst>
          </p:cNvPr>
          <p:cNvSpPr txBox="1"/>
          <p:nvPr userDrawn="1">
            <p:custDataLst>
              <p:tags r:id="rId8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BEBBF9A-8B1D-456F-BE1B-10E2D9A3E71D}"/>
              </a:ext>
            </a:extLst>
          </p:cNvPr>
          <p:cNvSpPr txBox="1"/>
          <p:nvPr userDrawn="1">
            <p:custDataLst>
              <p:tags r:id="rId8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BB5621D-B3EC-4E22-A869-E895E24ECA12}"/>
              </a:ext>
            </a:extLst>
          </p:cNvPr>
          <p:cNvSpPr txBox="1"/>
          <p:nvPr userDrawn="1">
            <p:custDataLst>
              <p:tags r:id="rId8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F472DC4-8F93-4D7B-A224-75403484E699}"/>
              </a:ext>
            </a:extLst>
          </p:cNvPr>
          <p:cNvSpPr txBox="1"/>
          <p:nvPr userDrawn="1">
            <p:custDataLst>
              <p:tags r:id="rId8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44823DD-46EC-4AB2-85A4-FB1C55A70669}"/>
              </a:ext>
            </a:extLst>
          </p:cNvPr>
          <p:cNvSpPr txBox="1"/>
          <p:nvPr userDrawn="1">
            <p:custDataLst>
              <p:tags r:id="rId8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AE5AEAD-BE1A-4FD5-8BDD-58D7804810FC}"/>
              </a:ext>
            </a:extLst>
          </p:cNvPr>
          <p:cNvSpPr txBox="1"/>
          <p:nvPr userDrawn="1">
            <p:custDataLst>
              <p:tags r:id="rId9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3171CE8-91FE-4288-8F7F-85A2C10C23BC}"/>
              </a:ext>
            </a:extLst>
          </p:cNvPr>
          <p:cNvSpPr txBox="1"/>
          <p:nvPr userDrawn="1">
            <p:custDataLst>
              <p:tags r:id="rId9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C3DEAC4-D686-43F4-BFB0-554DEAF48ABD}"/>
              </a:ext>
            </a:extLst>
          </p:cNvPr>
          <p:cNvSpPr txBox="1"/>
          <p:nvPr userDrawn="1">
            <p:custDataLst>
              <p:tags r:id="rId9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ECDAC3-EE96-4409-80C7-0BFAD78740E2}"/>
              </a:ext>
            </a:extLst>
          </p:cNvPr>
          <p:cNvSpPr txBox="1"/>
          <p:nvPr userDrawn="1">
            <p:custDataLst>
              <p:tags r:id="rId9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D80E21C-990B-4BAF-BE61-E869E8BF51E5}"/>
              </a:ext>
            </a:extLst>
          </p:cNvPr>
          <p:cNvSpPr txBox="1"/>
          <p:nvPr userDrawn="1">
            <p:custDataLst>
              <p:tags r:id="rId9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762981B-5D7D-4E4A-903E-A5D644CB5B3B}"/>
              </a:ext>
            </a:extLst>
          </p:cNvPr>
          <p:cNvSpPr txBox="1"/>
          <p:nvPr userDrawn="1">
            <p:custDataLst>
              <p:tags r:id="rId9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629E8CD-651C-42B2-8478-B43E5857AADC}"/>
              </a:ext>
            </a:extLst>
          </p:cNvPr>
          <p:cNvSpPr txBox="1"/>
          <p:nvPr userDrawn="1">
            <p:custDataLst>
              <p:tags r:id="rId9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B36B49D-69DE-4708-972D-9EFF3CACE002}"/>
              </a:ext>
            </a:extLst>
          </p:cNvPr>
          <p:cNvSpPr txBox="1"/>
          <p:nvPr userDrawn="1">
            <p:custDataLst>
              <p:tags r:id="rId9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53815B0-D56E-4AE4-A220-F61312AA6C48}"/>
              </a:ext>
            </a:extLst>
          </p:cNvPr>
          <p:cNvSpPr txBox="1"/>
          <p:nvPr userDrawn="1">
            <p:custDataLst>
              <p:tags r:id="rId9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90DE369-D693-42D7-902D-85A5E29B2E9E}"/>
              </a:ext>
            </a:extLst>
          </p:cNvPr>
          <p:cNvSpPr txBox="1"/>
          <p:nvPr userDrawn="1">
            <p:custDataLst>
              <p:tags r:id="rId9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585CEC6-856B-40F3-9E57-8C9A6EB8CFDE}"/>
              </a:ext>
            </a:extLst>
          </p:cNvPr>
          <p:cNvSpPr txBox="1"/>
          <p:nvPr userDrawn="1">
            <p:custDataLst>
              <p:tags r:id="rId10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F392236-6829-46E9-A43D-51A8BD5F75F9}"/>
              </a:ext>
            </a:extLst>
          </p:cNvPr>
          <p:cNvSpPr txBox="1"/>
          <p:nvPr userDrawn="1">
            <p:custDataLst>
              <p:tags r:id="rId10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5661AB0-6060-436E-B23D-7ED054780F81}"/>
              </a:ext>
            </a:extLst>
          </p:cNvPr>
          <p:cNvSpPr txBox="1"/>
          <p:nvPr userDrawn="1">
            <p:custDataLst>
              <p:tags r:id="rId10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C222B0C-2EE4-4E92-B313-2B8206684A03}"/>
              </a:ext>
            </a:extLst>
          </p:cNvPr>
          <p:cNvSpPr txBox="1"/>
          <p:nvPr userDrawn="1">
            <p:custDataLst>
              <p:tags r:id="rId10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7218FC6-5D2F-4B3A-89EC-9702E80FE7B8}"/>
              </a:ext>
            </a:extLst>
          </p:cNvPr>
          <p:cNvSpPr txBox="1"/>
          <p:nvPr userDrawn="1">
            <p:custDataLst>
              <p:tags r:id="rId10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8124C60-1349-49BA-9CF0-014C624ECE92}"/>
              </a:ext>
            </a:extLst>
          </p:cNvPr>
          <p:cNvSpPr txBox="1"/>
          <p:nvPr userDrawn="1">
            <p:custDataLst>
              <p:tags r:id="rId10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37FDB34-E794-41F5-995D-C7C59720A6B8}"/>
              </a:ext>
            </a:extLst>
          </p:cNvPr>
          <p:cNvSpPr txBox="1"/>
          <p:nvPr userDrawn="1">
            <p:custDataLst>
              <p:tags r:id="rId10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1037400-EE1D-4725-BDA6-CAA23758694E}"/>
              </a:ext>
            </a:extLst>
          </p:cNvPr>
          <p:cNvSpPr txBox="1"/>
          <p:nvPr userDrawn="1">
            <p:custDataLst>
              <p:tags r:id="rId10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F3C57EC-E51A-48E7-A5AF-CA40B8BEA7FC}"/>
              </a:ext>
            </a:extLst>
          </p:cNvPr>
          <p:cNvSpPr txBox="1"/>
          <p:nvPr userDrawn="1">
            <p:custDataLst>
              <p:tags r:id="rId10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88A930B-FA9D-491B-8EE3-2AC07147FB93}"/>
              </a:ext>
            </a:extLst>
          </p:cNvPr>
          <p:cNvSpPr txBox="1"/>
          <p:nvPr userDrawn="1">
            <p:custDataLst>
              <p:tags r:id="rId10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18657D8-0085-442C-8B6E-811BFC673737}"/>
              </a:ext>
            </a:extLst>
          </p:cNvPr>
          <p:cNvSpPr txBox="1"/>
          <p:nvPr userDrawn="1">
            <p:custDataLst>
              <p:tags r:id="rId11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441751B-5611-4BAD-918B-DF8C066DCB46}"/>
              </a:ext>
            </a:extLst>
          </p:cNvPr>
          <p:cNvSpPr txBox="1"/>
          <p:nvPr userDrawn="1">
            <p:custDataLst>
              <p:tags r:id="rId11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4C1DE7E-04D3-4EA2-88C8-38DF21123DE3}"/>
              </a:ext>
            </a:extLst>
          </p:cNvPr>
          <p:cNvSpPr txBox="1"/>
          <p:nvPr userDrawn="1">
            <p:custDataLst>
              <p:tags r:id="rId11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A2DA31D-07F3-4A73-8F9F-9DC69FD2496E}"/>
              </a:ext>
            </a:extLst>
          </p:cNvPr>
          <p:cNvSpPr txBox="1"/>
          <p:nvPr userDrawn="1">
            <p:custDataLst>
              <p:tags r:id="rId11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F52CC1D-BC95-4BE4-8072-22460EB0A65F}"/>
              </a:ext>
            </a:extLst>
          </p:cNvPr>
          <p:cNvSpPr txBox="1"/>
          <p:nvPr userDrawn="1">
            <p:custDataLst>
              <p:tags r:id="rId11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B628DB9-47D9-483E-8D7A-F94ABA6811F2}"/>
              </a:ext>
            </a:extLst>
          </p:cNvPr>
          <p:cNvSpPr txBox="1"/>
          <p:nvPr userDrawn="1">
            <p:custDataLst>
              <p:tags r:id="rId115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944B0FC-2ED1-4D4E-B2DB-FD71454D47B6}"/>
              </a:ext>
            </a:extLst>
          </p:cNvPr>
          <p:cNvSpPr txBox="1"/>
          <p:nvPr userDrawn="1">
            <p:custDataLst>
              <p:tags r:id="rId116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6D495E6-6FF3-4568-A2AF-979B26DEE03C}"/>
              </a:ext>
            </a:extLst>
          </p:cNvPr>
          <p:cNvSpPr txBox="1"/>
          <p:nvPr userDrawn="1">
            <p:custDataLst>
              <p:tags r:id="rId11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DEEDEC2-77B1-40AC-870B-D3EB7A9AC370}"/>
              </a:ext>
            </a:extLst>
          </p:cNvPr>
          <p:cNvSpPr txBox="1"/>
          <p:nvPr userDrawn="1">
            <p:custDataLst>
              <p:tags r:id="rId11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4C8F706-D63D-4AB1-BA15-CA15B5171846}"/>
              </a:ext>
            </a:extLst>
          </p:cNvPr>
          <p:cNvSpPr txBox="1"/>
          <p:nvPr userDrawn="1">
            <p:custDataLst>
              <p:tags r:id="rId11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183AA32-2031-48CE-B9BE-31C5637B0ABA}"/>
              </a:ext>
            </a:extLst>
          </p:cNvPr>
          <p:cNvSpPr txBox="1"/>
          <p:nvPr userDrawn="1">
            <p:custDataLst>
              <p:tags r:id="rId12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356CC368-BACF-4D54-A518-C3EB9434AA4F}"/>
              </a:ext>
            </a:extLst>
          </p:cNvPr>
          <p:cNvSpPr txBox="1"/>
          <p:nvPr userDrawn="1">
            <p:custDataLst>
              <p:tags r:id="rId12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3592247-FDE6-4AD6-9291-E61EA0BAF510}"/>
              </a:ext>
            </a:extLst>
          </p:cNvPr>
          <p:cNvSpPr txBox="1"/>
          <p:nvPr userDrawn="1">
            <p:custDataLst>
              <p:tags r:id="rId12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3BF9A0A-BD1C-4B78-93BB-8DFA0CF397C7}"/>
              </a:ext>
            </a:extLst>
          </p:cNvPr>
          <p:cNvSpPr txBox="1"/>
          <p:nvPr userDrawn="1">
            <p:custDataLst>
              <p:tags r:id="rId12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5BC1BF8-DAEE-485E-BDDC-C3175F80A097}"/>
              </a:ext>
            </a:extLst>
          </p:cNvPr>
          <p:cNvSpPr txBox="1"/>
          <p:nvPr userDrawn="1">
            <p:custDataLst>
              <p:tags r:id="rId124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7" name="Footer Placeholder 4">
            <a:extLst>
              <a:ext uri="{FF2B5EF4-FFF2-40B4-BE49-F238E27FC236}">
                <a16:creationId xmlns:a16="http://schemas.microsoft.com/office/drawing/2014/main" id="{CE3C01C6-AD7D-4002-9A1A-93AE25E2D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" y="6370637"/>
            <a:ext cx="11668124" cy="3079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/>
              <a:t>DRAFT –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56934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78ED41C-1218-46D7-A2EF-141CCF436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354" imgH="355" progId="TCLayout.ActiveDocument.1">
                  <p:embed/>
                </p:oleObj>
              </mc:Choice>
              <mc:Fallback>
                <p:oleObj name="think-cell Slide" r:id="rId7" imgW="354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78ED41C-1218-46D7-A2EF-141CCF436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5D70E4E-FA34-49B9-B833-AA06B3208680}"/>
              </a:ext>
            </a:extLst>
          </p:cNvPr>
          <p:cNvSpPr/>
          <p:nvPr userDrawn="1"/>
        </p:nvSpPr>
        <p:spPr>
          <a:xfrm>
            <a:off x="-2" y="0"/>
            <a:ext cx="12192000" cy="691927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D78B5C-C9C5-4DA0-BEE2-D30258B1629B}"/>
              </a:ext>
            </a:extLst>
          </p:cNvPr>
          <p:cNvGrpSpPr/>
          <p:nvPr userDrawn="1"/>
        </p:nvGrpSpPr>
        <p:grpSpPr>
          <a:xfrm>
            <a:off x="6502853" y="1367198"/>
            <a:ext cx="5689147" cy="5545394"/>
            <a:chOff x="6502854" y="1312607"/>
            <a:chExt cx="5689147" cy="5545394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DF07E39-826D-480A-964A-C3F2F9743C0F}"/>
                </a:ext>
              </a:extLst>
            </p:cNvPr>
            <p:cNvSpPr/>
            <p:nvPr userDrawn="1"/>
          </p:nvSpPr>
          <p:spPr>
            <a:xfrm>
              <a:off x="6606436" y="3085351"/>
              <a:ext cx="5585565" cy="3772650"/>
            </a:xfrm>
            <a:custGeom>
              <a:avLst/>
              <a:gdLst>
                <a:gd name="connsiteX0" fmla="*/ 2845909 w 2845909"/>
                <a:gd name="connsiteY0" fmla="*/ 0 h 1922208"/>
                <a:gd name="connsiteX1" fmla="*/ 2845909 w 2845909"/>
                <a:gd name="connsiteY1" fmla="*/ 1922208 h 1922208"/>
                <a:gd name="connsiteX2" fmla="*/ 0 w 2845909"/>
                <a:gd name="connsiteY2" fmla="*/ 1922208 h 1922208"/>
                <a:gd name="connsiteX3" fmla="*/ 2845683 w 2845909"/>
                <a:gd name="connsiteY3" fmla="*/ 806 h 1922208"/>
                <a:gd name="connsiteX4" fmla="*/ 2845909 w 2845909"/>
                <a:gd name="connsiteY4" fmla="*/ 0 h 192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5909" h="1922208">
                  <a:moveTo>
                    <a:pt x="2845909" y="0"/>
                  </a:moveTo>
                  <a:lnTo>
                    <a:pt x="2845909" y="1922208"/>
                  </a:lnTo>
                  <a:lnTo>
                    <a:pt x="0" y="1922208"/>
                  </a:lnTo>
                  <a:cubicBezTo>
                    <a:pt x="1337059" y="1922208"/>
                    <a:pt x="2468426" y="1113969"/>
                    <a:pt x="2845683" y="806"/>
                  </a:cubicBezTo>
                  <a:lnTo>
                    <a:pt x="28459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4CBAEB7-C8D9-4AFF-AC48-A3B7EFDB3DBF}"/>
                </a:ext>
              </a:extLst>
            </p:cNvPr>
            <p:cNvSpPr/>
            <p:nvPr userDrawn="1"/>
          </p:nvSpPr>
          <p:spPr>
            <a:xfrm>
              <a:off x="6502854" y="1312607"/>
              <a:ext cx="5689145" cy="5545394"/>
            </a:xfrm>
            <a:custGeom>
              <a:avLst/>
              <a:gdLst>
                <a:gd name="connsiteX0" fmla="*/ 2898684 w 2898684"/>
                <a:gd name="connsiteY0" fmla="*/ 0 h 2825441"/>
                <a:gd name="connsiteX1" fmla="*/ 2898684 w 2898684"/>
                <a:gd name="connsiteY1" fmla="*/ 978517 h 2825441"/>
                <a:gd name="connsiteX2" fmla="*/ 2847590 w 2898684"/>
                <a:gd name="connsiteY2" fmla="*/ 1109061 h 2825441"/>
                <a:gd name="connsiteX3" fmla="*/ 53310 w 2898684"/>
                <a:gd name="connsiteY3" fmla="*/ 2825441 h 2825441"/>
                <a:gd name="connsiteX4" fmla="*/ 0 w 2898684"/>
                <a:gd name="connsiteY4" fmla="*/ 2822996 h 2825441"/>
                <a:gd name="connsiteX5" fmla="*/ 63233 w 2898684"/>
                <a:gd name="connsiteY5" fmla="*/ 2821308 h 2825441"/>
                <a:gd name="connsiteX6" fmla="*/ 2864223 w 2898684"/>
                <a:gd name="connsiteY6" fmla="*/ 251285 h 2825441"/>
                <a:gd name="connsiteX7" fmla="*/ 2898684 w 2898684"/>
                <a:gd name="connsiteY7" fmla="*/ 0 h 282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8684" h="2825441">
                  <a:moveTo>
                    <a:pt x="2898684" y="0"/>
                  </a:moveTo>
                  <a:lnTo>
                    <a:pt x="2898684" y="978517"/>
                  </a:lnTo>
                  <a:lnTo>
                    <a:pt x="2847590" y="1109061"/>
                  </a:lnTo>
                  <a:cubicBezTo>
                    <a:pt x="2403087" y="2115075"/>
                    <a:pt x="1319507" y="2825441"/>
                    <a:pt x="53310" y="2825441"/>
                  </a:cubicBezTo>
                  <a:lnTo>
                    <a:pt x="0" y="2822996"/>
                  </a:lnTo>
                  <a:lnTo>
                    <a:pt x="63233" y="2821308"/>
                  </a:lnTo>
                  <a:cubicBezTo>
                    <a:pt x="1460966" y="2746547"/>
                    <a:pt x="2607131" y="1665640"/>
                    <a:pt x="2864223" y="251285"/>
                  </a:cubicBezTo>
                  <a:lnTo>
                    <a:pt x="2898684" y="0"/>
                  </a:lnTo>
                  <a:close/>
                </a:path>
              </a:pathLst>
            </a:custGeom>
            <a:gradFill>
              <a:gsLst>
                <a:gs pos="45000">
                  <a:schemeClr val="accent1"/>
                </a:gs>
                <a:gs pos="100000">
                  <a:schemeClr val="accent2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eva Sans" panose="020B0604030202020203" pitchFamily="34" charset="0"/>
                <a:sym typeface="Teva Sans" panose="020B0604030202020203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5B14F72-D4D8-4448-A13E-16708B5680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2327402"/>
            <a:ext cx="8712789" cy="1500187"/>
          </a:xfrm>
        </p:spPr>
        <p:txBody>
          <a:bodyPr vert="horz" anchor="b">
            <a:normAutofit/>
          </a:bodyPr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</a:lstStyle>
          <a:p>
            <a:r>
              <a:rPr lang="en-US"/>
              <a:t>Click to edit Divider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465E93-0C22-4C05-94B3-3A0D46202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854577"/>
            <a:ext cx="7605140" cy="727255"/>
          </a:xfr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Teva Sans" panose="020B0604030202020203" pitchFamily="34" charset="0"/>
                <a:sym typeface="Teva Sans" panose="020B060403020202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274" y="6196084"/>
            <a:ext cx="2118134" cy="5052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2A72350-A431-4FD5-B55B-CA95718DBD1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9CB9CE-2F9C-425D-8E1F-7CA0C221F26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FD3A58-41FB-4643-884F-DE47F2E98F3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27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1301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C82C8FF-4554-4D33-9E91-3BB7D4A85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2337" y="736722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62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TEVA logo with swoos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8F051B5-DF49-4CA6-B00A-EE4A63BE9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5" imgW="354" imgH="355" progId="TCLayout.ActiveDocument.1">
                  <p:embed/>
                </p:oleObj>
              </mc:Choice>
              <mc:Fallback>
                <p:oleObj name="think-cell Slide" r:id="rId15" imgW="354" imgH="35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8F051B5-DF49-4CA6-B00A-EE4A63BE9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7810B92-0ADA-498C-8FE1-4CCD22C72F6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C184F3-9005-4AE0-95A3-3239212ED8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677CF3-7C63-408E-BE85-ACE69FE4763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415470-1432-494B-94C5-D0CB5EBA745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126800" y="417600"/>
            <a:ext cx="14436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11E750-D02B-411D-B51D-709CE0294F8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9774FC-0FD1-42E1-A26A-467B4317DB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0C49B6-C077-464E-A9EA-A8D174F2F643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ADCAE2-0484-4AB2-B376-B64CB0CF7CD9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1113DD-0C65-4398-8293-32EDF6432DA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46F111-611A-4AD8-BE21-0CB3C8F2FC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A7C53C-E3FA-47D7-A04E-C51ABC4F97B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539" y="2601531"/>
            <a:ext cx="4722922" cy="165493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0113EA-B2BA-4EA3-B793-5672EEEC2544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758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D93F20-5939-42BA-A606-B99FB95B0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87241"/>
            <a:ext cx="10515600" cy="7617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in two 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FDD4A4-27F6-44E1-832A-BED5880195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3193"/>
            <a:ext cx="10515600" cy="469377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32E2D-9FD5-4EF7-8164-FAE7EACCD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 </a:t>
            </a:r>
            <a:fld id="{C2832ACA-4727-4D4C-ACEE-24DD06899962}" type="slidenum">
              <a:rPr lang="en-US" smtClean="0"/>
              <a:pPr/>
              <a:t>‹#›</a:t>
            </a:fld>
            <a:r>
              <a:rPr lang="en-US"/>
              <a:t> |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1C6BF1-4207-42E5-B3BC-ADF4D0817C2D}"/>
              </a:ext>
            </a:extLst>
          </p:cNvPr>
          <p:cNvSpPr/>
          <p:nvPr userDrawn="1"/>
        </p:nvSpPr>
        <p:spPr>
          <a:xfrm>
            <a:off x="0" y="1298086"/>
            <a:ext cx="5101389" cy="36000"/>
          </a:xfrm>
          <a:prstGeom prst="rect">
            <a:avLst/>
          </a:prstGeom>
          <a:gradFill>
            <a:gsLst>
              <a:gs pos="7000">
                <a:srgbClr val="92D050">
                  <a:lumMod val="90000"/>
                </a:srgbClr>
              </a:gs>
              <a:gs pos="100000">
                <a:srgbClr val="269E7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76D0F2-36D1-4EB9-A96B-76D28649E7C9}"/>
              </a:ext>
            </a:extLst>
          </p:cNvPr>
          <p:cNvCxnSpPr>
            <a:cxnSpLocks/>
          </p:cNvCxnSpPr>
          <p:nvPr userDrawn="1"/>
        </p:nvCxnSpPr>
        <p:spPr>
          <a:xfrm>
            <a:off x="478971" y="6264049"/>
            <a:ext cx="11370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421DD81-0AE0-4BF7-AA5E-68C15E6880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8056" y="6353014"/>
            <a:ext cx="1510674" cy="30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DA5FE3E-0CE1-4345-967C-4E1EAA62E48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10126800" y="417600"/>
            <a:ext cx="1443600" cy="3636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de-DE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61C5F-5813-421C-94F8-DD55D7FF8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" y="6370637"/>
            <a:ext cx="11668124" cy="3079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/>
              <a:t>DRAFT –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3797044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5"/>
            <a:ext cx="10195200" cy="45468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AC17129-1442-4701-A92C-BFE180DAF5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–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5399068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text Slide - one r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D70D7B-85F1-40D6-909D-40139EDC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6242"/>
                </a:solidFill>
              </a:rPr>
              <a:t>| 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101A5-2044-4F32-8422-BAA5F555AE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442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3C835EC-6E3A-46AF-89F4-B3914F6FE66D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9F7D165-F64C-4730-895E-65690F4609AB}"/>
              </a:ext>
            </a:extLst>
          </p:cNvPr>
          <p:cNvSpPr/>
          <p:nvPr userDrawn="1"/>
        </p:nvSpPr>
        <p:spPr>
          <a:xfrm flipH="1">
            <a:off x="3048" y="0"/>
            <a:ext cx="12188952" cy="6858000"/>
          </a:xfrm>
          <a:custGeom>
            <a:avLst/>
            <a:gdLst>
              <a:gd name="connsiteX0" fmla="*/ 12188952 w 12188952"/>
              <a:gd name="connsiteY0" fmla="*/ 0 h 6858000"/>
              <a:gd name="connsiteX1" fmla="*/ 0 w 12188952"/>
              <a:gd name="connsiteY1" fmla="*/ 0 h 6858000"/>
              <a:gd name="connsiteX2" fmla="*/ 0 w 12188952"/>
              <a:gd name="connsiteY2" fmla="*/ 6858000 h 6858000"/>
              <a:gd name="connsiteX3" fmla="*/ 12188952 w 12188952"/>
              <a:gd name="connsiteY3" fmla="*/ 6858000 h 6858000"/>
              <a:gd name="connsiteX4" fmla="*/ 12188952 w 12188952"/>
              <a:gd name="connsiteY4" fmla="*/ 0 h 6858000"/>
              <a:gd name="connsiteX5" fmla="*/ 4815526 w 12188952"/>
              <a:gd name="connsiteY5" fmla="*/ 1394041 h 6858000"/>
              <a:gd name="connsiteX6" fmla="*/ 4815526 w 12188952"/>
              <a:gd name="connsiteY6" fmla="*/ 6275971 h 6858000"/>
              <a:gd name="connsiteX7" fmla="*/ 2220492 w 12188952"/>
              <a:gd name="connsiteY7" fmla="*/ 6275971 h 6858000"/>
              <a:gd name="connsiteX8" fmla="*/ 2220492 w 12188952"/>
              <a:gd name="connsiteY8" fmla="*/ 1394041 h 6858000"/>
              <a:gd name="connsiteX9" fmla="*/ 4815526 w 12188952"/>
              <a:gd name="connsiteY9" fmla="*/ 13940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88952" h="6858000">
                <a:moveTo>
                  <a:pt x="12188952" y="0"/>
                </a:moveTo>
                <a:lnTo>
                  <a:pt x="0" y="0"/>
                </a:lnTo>
                <a:lnTo>
                  <a:pt x="0" y="6858000"/>
                </a:lnTo>
                <a:lnTo>
                  <a:pt x="12188952" y="6858000"/>
                </a:lnTo>
                <a:lnTo>
                  <a:pt x="12188952" y="0"/>
                </a:lnTo>
                <a:close/>
                <a:moveTo>
                  <a:pt x="4815526" y="1394041"/>
                </a:moveTo>
                <a:lnTo>
                  <a:pt x="4815526" y="6275971"/>
                </a:lnTo>
                <a:lnTo>
                  <a:pt x="2220492" y="6275971"/>
                </a:lnTo>
                <a:lnTo>
                  <a:pt x="2220492" y="1394041"/>
                </a:lnTo>
                <a:lnTo>
                  <a:pt x="4815526" y="139404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0000"/>
                </a:schemeClr>
              </a:gs>
              <a:gs pos="100000">
                <a:schemeClr val="accent5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838366" y="1394042"/>
            <a:ext cx="6072100" cy="3139357"/>
          </a:xfrm>
        </p:spPr>
        <p:txBody>
          <a:bodyPr anchor="t" anchorCtr="0"/>
          <a:lstStyle>
            <a:lvl1pPr algn="l">
              <a:lnSpc>
                <a:spcPct val="75000"/>
              </a:lnSpc>
              <a:defRPr sz="10000" baseline="0">
                <a:solidFill>
                  <a:schemeClr val="bg1"/>
                </a:solidFill>
                <a:latin typeface="KPMG Bold" panose="020B0803030202040204" pitchFamily="34" charset="0"/>
                <a:cs typeface="Arial" panose="020B060402020202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38364" y="4032356"/>
            <a:ext cx="6072099" cy="106929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ub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38366" y="5848569"/>
            <a:ext cx="3193989" cy="487363"/>
          </a:xfrm>
        </p:spPr>
        <p:txBody>
          <a:bodyPr anchor="b"/>
          <a:lstStyle>
            <a:lvl1pPr>
              <a:defRPr sz="2000" b="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AD1F86C2-C6B3-4DDA-9317-0BA45D5EFDA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8365" y="555173"/>
            <a:ext cx="1080816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20469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08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79B7756-62FD-4D42-9130-56FEE2B2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A9704BA-BB1B-4285-8DD4-AFA9456D1F51}"/>
              </a:ext>
            </a:extLst>
          </p:cNvPr>
          <p:cNvSpPr/>
          <p:nvPr userDrawn="1"/>
        </p:nvSpPr>
        <p:spPr>
          <a:xfrm flipH="1"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5">
                  <a:alpha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E733A77C-797D-46B4-A09F-91837B8AB7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7445" y="1696478"/>
            <a:ext cx="997848" cy="1554907"/>
          </a:xfr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b" anchorCtr="0"/>
          <a:lstStyle>
            <a:lvl1pPr algn="l">
              <a:defRPr kumimoji="0" lang="en-US" sz="72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PMG Bold" panose="020B0803030202040204" pitchFamily="34" charset="0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/>
              <a:t>#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F895ABB-150A-45B7-934A-88B8FB7E8F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7445" y="3432641"/>
            <a:ext cx="4175230" cy="228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65000"/>
              </a:lnSpc>
              <a:defRPr lang="en-US" sz="9600" baseline="0" dirty="0">
                <a:solidFill>
                  <a:schemeClr val="bg1"/>
                </a:solidFill>
                <a:latin typeface="KPMG Bold" panose="020B080303020204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75000"/>
              </a:lnSpc>
            </a:pPr>
            <a:r>
              <a:rPr lang="en-US"/>
              <a:t>Divider copy goes here</a:t>
            </a: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7B59DE35-2905-4294-B41E-C58250533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783113-DE5B-452A-9058-85E62109DF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15" name="Shape 8">
            <a:extLst>
              <a:ext uri="{FF2B5EF4-FFF2-40B4-BE49-F238E27FC236}">
                <a16:creationId xmlns:a16="http://schemas.microsoft.com/office/drawing/2014/main" id="{C54A5077-9E67-4A43-86EB-F37D347FBB28}"/>
              </a:ext>
            </a:extLst>
          </p:cNvPr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58FF78-DE7E-484D-8F07-9FF031D18F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bg1"/>
                </a:solidFill>
              </a:rPr>
              <a:t>With you every step of the way</a:t>
            </a:r>
            <a:endParaRPr lang="en-GB" b="1" noProof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7021529-FD74-4424-9D13-C4CC93A10983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668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08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79B7756-62FD-4D42-9130-56FEE2B2F1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A9704BA-BB1B-4285-8DD4-AFA9456D1F51}"/>
              </a:ext>
            </a:extLst>
          </p:cNvPr>
          <p:cNvSpPr/>
          <p:nvPr userDrawn="1"/>
        </p:nvSpPr>
        <p:spPr>
          <a:xfrm flipH="1"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5">
                  <a:alpha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F895ABB-150A-45B7-934A-88B8FB7E8F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7444" y="3432641"/>
            <a:ext cx="5038555" cy="2286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800" baseline="0" dirty="0">
                <a:solidFill>
                  <a:schemeClr val="bg1"/>
                </a:solidFill>
                <a:latin typeface="KPMG Bold" panose="020B080303020204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75000"/>
              </a:lnSpc>
            </a:pPr>
            <a:r>
              <a:rPr lang="en-US"/>
              <a:t>Divider copy goes here</a:t>
            </a: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A7A81D6E-574F-4372-8C38-8B6C909D3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587586-AC22-4087-B907-E20291814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E1F39C02-E11B-4828-ACCD-B550F83A98DD}"/>
              </a:ext>
            </a:extLst>
          </p:cNvPr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623782-D2D8-4E6E-8EF1-7D043A42C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bg1"/>
                </a:solidFill>
              </a:rPr>
              <a:t>With you every step of the way</a:t>
            </a:r>
            <a:endParaRPr lang="en-GB" b="1" noProof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024379-8423-4B12-9B6D-99C6140171B2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8446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08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79B7756-62FD-4D42-9130-56FEE2B2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10856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5FA2200-9BA5-45B8-B61A-1F25B4F7D524}"/>
              </a:ext>
            </a:extLst>
          </p:cNvPr>
          <p:cNvSpPr/>
          <p:nvPr userDrawn="1"/>
        </p:nvSpPr>
        <p:spPr>
          <a:xfrm flipH="1"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5">
                  <a:alpha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A7A81D6E-574F-4372-8C38-8B6C909D32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587586-AC22-4087-B907-E20291814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E1F39C02-E11B-4828-ACCD-B550F83A98DD}"/>
              </a:ext>
            </a:extLst>
          </p:cNvPr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623782-D2D8-4E6E-8EF1-7D043A42C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bg1"/>
                </a:solidFill>
              </a:rPr>
              <a:t>With you every step of the way</a:t>
            </a:r>
            <a:endParaRPr lang="en-GB" b="1" noProof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024379-8423-4B12-9B6D-99C6140171B2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52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9703B3-3C11-46F3-A866-E01DD030642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8120" y="1135781"/>
            <a:ext cx="11795760" cy="80117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72C73B-F343-4C6C-AF78-C76E44730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705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FINAL SLIDE">
    <p:bg>
      <p:bgPr>
        <a:gradFill>
          <a:gsLst>
            <a:gs pos="100000">
              <a:srgbClr val="7213EA"/>
            </a:gs>
            <a:gs pos="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9">
            <a:extLst>
              <a:ext uri="{FF2B5EF4-FFF2-40B4-BE49-F238E27FC236}">
                <a16:creationId xmlns:a16="http://schemas.microsoft.com/office/drawing/2014/main" id="{05C79DB0-2E35-4D48-BF9F-389412DE5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76EE43-DDC5-49B6-A3DC-AE4B6ECB3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253AC89D-0AA6-4A6E-A755-36F93C82D416}"/>
              </a:ext>
            </a:extLst>
          </p:cNvPr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752EAC-F7FD-46F2-999E-E37AD788E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bg1"/>
                </a:solidFill>
              </a:rPr>
              <a:t>With you every step of the way</a:t>
            </a:r>
            <a:endParaRPr lang="en-GB" b="1" noProof="0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B09FCF5-1E89-4BF1-9218-F72718D00A6A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0680CE8B-EE3E-4DD4-8392-054A09883C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295" y="2286000"/>
            <a:ext cx="10849412" cy="2286000"/>
          </a:xfr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70000"/>
              </a:lnSpc>
              <a:defRPr lang="en-US" sz="8800" baseline="0" dirty="0">
                <a:solidFill>
                  <a:schemeClr val="bg1"/>
                </a:solidFill>
                <a:latin typeface="KPMG Bold" panose="020B080303020204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75000"/>
              </a:lnSpc>
            </a:pPr>
            <a:r>
              <a:rPr lang="en-US"/>
              <a:t>Divider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3578234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2.xml"/><Relationship Id="rId16" Type="http://schemas.openxmlformats.org/officeDocument/2006/relationships/tags" Target="../tags/tag2.xml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4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95.xml"/><Relationship Id="rId16" Type="http://schemas.openxmlformats.org/officeDocument/2006/relationships/tags" Target="../tags/tag19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tags" Target="../tags/tag191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vmlDrawing" Target="../drawings/vmlDrawing13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9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41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37" Type="http://schemas.openxmlformats.org/officeDocument/2006/relationships/slideLayout" Target="../slideLayouts/slideLayout142.xml"/><Relationship Id="rId40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38" Type="http://schemas.openxmlformats.org/officeDocument/2006/relationships/slideLayout" Target="../slideLayouts/slideLayout14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4" y="6266997"/>
            <a:ext cx="4667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423389-1A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9AC77B96-D96C-4FA2-858B-DEE0A3A7B7B6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03" r:id="rId5"/>
    <p:sldLayoutId id="2147483783" r:id="rId6"/>
    <p:sldLayoutId id="2147483749" r:id="rId7"/>
    <p:sldLayoutId id="2147483750" r:id="rId8"/>
    <p:sldLayoutId id="2147483767" r:id="rId9"/>
    <p:sldLayoutId id="2147483768" r:id="rId10"/>
    <p:sldLayoutId id="2147483765" r:id="rId11"/>
    <p:sldLayoutId id="2147483766" r:id="rId12"/>
    <p:sldLayoutId id="2147483666" r:id="rId13"/>
    <p:sldLayoutId id="2147483712" r:id="rId14"/>
    <p:sldLayoutId id="2147483664" r:id="rId15"/>
    <p:sldLayoutId id="2147483769" r:id="rId16"/>
    <p:sldLayoutId id="2147483770" r:id="rId17"/>
    <p:sldLayoutId id="2147483714" r:id="rId18"/>
    <p:sldLayoutId id="2147483689" r:id="rId19"/>
    <p:sldLayoutId id="2147483716" r:id="rId20"/>
    <p:sldLayoutId id="2147483690" r:id="rId21"/>
    <p:sldLayoutId id="2147483692" r:id="rId22"/>
    <p:sldLayoutId id="2147483691" r:id="rId23"/>
    <p:sldLayoutId id="2147483693" r:id="rId24"/>
    <p:sldLayoutId id="2147483790" r:id="rId25"/>
    <p:sldLayoutId id="2147483701" r:id="rId26"/>
    <p:sldLayoutId id="2147483771" r:id="rId27"/>
    <p:sldLayoutId id="2147483752" r:id="rId28"/>
    <p:sldLayoutId id="2147483697" r:id="rId29"/>
    <p:sldLayoutId id="2147483772" r:id="rId30"/>
    <p:sldLayoutId id="2147483787" r:id="rId31"/>
    <p:sldLayoutId id="2147483754" r:id="rId32"/>
    <p:sldLayoutId id="2147483699" r:id="rId33"/>
    <p:sldLayoutId id="2147483700" r:id="rId34"/>
    <p:sldLayoutId id="2147483682" r:id="rId35"/>
    <p:sldLayoutId id="2147483745" r:id="rId36"/>
    <p:sldLayoutId id="2147483746" r:id="rId37"/>
    <p:sldLayoutId id="2147483784" r:id="rId38"/>
    <p:sldLayoutId id="2147483773" r:id="rId39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 userDrawn="1">
          <p15:clr>
            <a:srgbClr val="F26B43"/>
          </p15:clr>
        </p15:guide>
        <p15:guide id="2" pos="627" userDrawn="1">
          <p15:clr>
            <a:srgbClr val="F26B43"/>
          </p15:clr>
        </p15:guide>
        <p15:guide id="3" pos="7055" userDrawn="1">
          <p15:clr>
            <a:srgbClr val="F26B43"/>
          </p15:clr>
        </p15:guide>
        <p15:guide id="4" orient="horz" pos="838" userDrawn="1">
          <p15:clr>
            <a:srgbClr val="F26B43"/>
          </p15:clr>
        </p15:guide>
        <p15:guide id="5" orient="horz" pos="612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4" y="6266997"/>
            <a:ext cx="4667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9AC77B96-D96C-4FA2-858B-DEE0A3A7B7B6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5529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  <p:sldLayoutId id="2147483822" r:id="rId27"/>
    <p:sldLayoutId id="2147483823" r:id="rId28"/>
    <p:sldLayoutId id="2147483824" r:id="rId29"/>
    <p:sldLayoutId id="2147483825" r:id="rId30"/>
    <p:sldLayoutId id="2147483826" r:id="rId31"/>
    <p:sldLayoutId id="2147483827" r:id="rId32"/>
    <p:sldLayoutId id="2147483828" r:id="rId33"/>
    <p:sldLayoutId id="2147483829" r:id="rId34"/>
    <p:sldLayoutId id="2147483830" r:id="rId35"/>
    <p:sldLayoutId id="2147483831" r:id="rId36"/>
    <p:sldLayoutId id="2147483832" r:id="rId37"/>
    <p:sldLayoutId id="2147483833" r:id="rId38"/>
    <p:sldLayoutId id="2147483834" r:id="rId39"/>
    <p:sldLayoutId id="2147483835" r:id="rId40"/>
    <p:sldLayoutId id="2147483836" r:id="rId41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7F7C1B-1962-402B-A0FA-28165E333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6" y="179396"/>
            <a:ext cx="11400453" cy="7954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68356-7C4B-4248-975A-2BC915D576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546" y="1562100"/>
            <a:ext cx="11400453" cy="4472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406D15-CDAC-4A52-B788-EA532590A941}"/>
              </a:ext>
            </a:extLst>
          </p:cNvPr>
          <p:cNvSpPr/>
          <p:nvPr/>
        </p:nvSpPr>
        <p:spPr>
          <a:xfrm>
            <a:off x="0" y="823845"/>
            <a:ext cx="5101389" cy="36000"/>
          </a:xfrm>
          <a:prstGeom prst="rect">
            <a:avLst/>
          </a:prstGeom>
          <a:gradFill>
            <a:gsLst>
              <a:gs pos="7000">
                <a:srgbClr val="92D050">
                  <a:lumMod val="90000"/>
                </a:srgbClr>
              </a:gs>
              <a:gs pos="100000">
                <a:srgbClr val="269E7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eva Sans" panose="020B0604030202020203" pitchFamily="34" charset="0"/>
              <a:sym typeface="Teva Sans" panose="020B0604030202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538C74-CB6A-44D1-8E30-211376F63D72}"/>
              </a:ext>
            </a:extLst>
          </p:cNvPr>
          <p:cNvCxnSpPr>
            <a:cxnSpLocks/>
          </p:cNvCxnSpPr>
          <p:nvPr/>
        </p:nvCxnSpPr>
        <p:spPr>
          <a:xfrm>
            <a:off x="410547" y="6264049"/>
            <a:ext cx="11370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>
              <a:latin typeface="Teva Sans" panose="020B0604030202020203" pitchFamily="34" charset="0"/>
              <a:ea typeface="+mj-ea"/>
              <a:cs typeface="+mj-cs"/>
              <a:sym typeface="Teva Sans" panose="020B0604030202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911590-CD11-457B-BA6D-42E3A7C5BFCB}"/>
              </a:ext>
            </a:extLst>
          </p:cNvPr>
          <p:cNvSpPr/>
          <p:nvPr userDrawn="1"/>
        </p:nvSpPr>
        <p:spPr>
          <a:xfrm>
            <a:off x="845504" y="6333266"/>
            <a:ext cx="2899393" cy="36576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/>
            <a:r>
              <a:rPr lang="en-US" sz="1100">
                <a:solidFill>
                  <a:schemeClr val="tx2"/>
                </a:solidFill>
                <a:latin typeface="Teva Sans" panose="020B0604030202020203" pitchFamily="34" charset="0"/>
                <a:sym typeface="Teva Sans" panose="020B0604030202020203" pitchFamily="34" charset="0"/>
              </a:rPr>
              <a:t>Finance Initiativ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367898B-DCBF-45E8-8BD0-1154362CE70A}"/>
              </a:ext>
            </a:extLst>
          </p:cNvPr>
          <p:cNvSpPr/>
          <p:nvPr userDrawn="1"/>
        </p:nvSpPr>
        <p:spPr>
          <a:xfrm>
            <a:off x="410547" y="6323741"/>
            <a:ext cx="359229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IN" sz="1100">
                <a:solidFill>
                  <a:schemeClr val="tx2"/>
                </a:solidFill>
                <a:latin typeface="Teva Sans" panose="020B0604030202020203" pitchFamily="34" charset="0"/>
                <a:sym typeface="Teva Sans" panose="020B0604030202020203" pitchFamily="34" charset="0"/>
              </a:rPr>
              <a:t>| </a:t>
            </a:r>
            <a:fld id="{21A7C526-AA55-412F-AC7A-F24305428531}" type="slidenum">
              <a:rPr lang="en-IN" sz="1100" smtClean="0">
                <a:solidFill>
                  <a:schemeClr val="tx2"/>
                </a:solidFill>
                <a:latin typeface="Teva Sans" panose="020B0604030202020203" pitchFamily="34" charset="0"/>
                <a:sym typeface="Teva Sans" panose="020B0604030202020203" pitchFamily="34" charset="0"/>
              </a:rPr>
              <a:pPr algn="l"/>
              <a:t>‹#›</a:t>
            </a:fld>
            <a:r>
              <a:rPr lang="en-IN" sz="1100">
                <a:solidFill>
                  <a:schemeClr val="tx2"/>
                </a:solidFill>
                <a:latin typeface="Teva Sans" panose="020B0604030202020203" pitchFamily="34" charset="0"/>
                <a:sym typeface="Teva Sans" panose="020B0604030202020203" pitchFamily="34" charset="0"/>
              </a:rPr>
              <a:t> |</a:t>
            </a:r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07E2935-FAA8-44DC-A253-C4D9C84FFA8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243" y="6386714"/>
            <a:ext cx="2027756" cy="32014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D962C93-2D5E-4571-85C1-0E4F405B71E8}"/>
              </a:ext>
            </a:extLst>
          </p:cNvPr>
          <p:cNvSpPr/>
          <p:nvPr userDrawn="1"/>
        </p:nvSpPr>
        <p:spPr>
          <a:xfrm>
            <a:off x="4661075" y="6333266"/>
            <a:ext cx="2899393" cy="36576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ctr"/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Teva Sans" panose="020B0604030202020203" pitchFamily="34" charset="0"/>
                <a:sym typeface="Teva Sans" panose="020B0604030202020203" pitchFamily="34" charset="0"/>
              </a:rPr>
              <a:t>Draft -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735175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Teva Sans" panose="020B0604030202020203" pitchFamily="34" charset="0"/>
          <a:ea typeface="+mj-ea"/>
          <a:cs typeface="+mj-cs"/>
          <a:sym typeface="Teva Sans" panose="020B0604030202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̶"/>
        <a:defRPr sz="2200" kern="1200">
          <a:solidFill>
            <a:schemeClr val="tx1"/>
          </a:solidFill>
          <a:latin typeface="Teva Sans" panose="020B0604030202020203" pitchFamily="34" charset="0"/>
          <a:ea typeface="+mn-ea"/>
          <a:cs typeface="+mn-cs"/>
          <a:sym typeface="Teva Sans" panose="020B0604030202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Calibri" panose="020F0502020204030204" pitchFamily="34" charset="0"/>
        <a:buChar char="̶"/>
        <a:defRPr sz="2200" kern="1200">
          <a:solidFill>
            <a:schemeClr val="tx1"/>
          </a:solidFill>
          <a:latin typeface="Teva Sans" panose="020B0604030202020203" pitchFamily="34" charset="0"/>
          <a:ea typeface="+mn-ea"/>
          <a:cs typeface="+mn-cs"/>
          <a:sym typeface="Teva Sans" panose="020B0604030202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̶"/>
        <a:defRPr sz="2200" kern="1200">
          <a:solidFill>
            <a:schemeClr val="tx1"/>
          </a:solidFill>
          <a:latin typeface="Teva Sans" panose="020B0604030202020203" pitchFamily="34" charset="0"/>
          <a:ea typeface="+mn-ea"/>
          <a:cs typeface="+mn-cs"/>
          <a:sym typeface="Teva Sans" panose="020B0604030202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̶"/>
        <a:defRPr sz="2200" kern="1200">
          <a:solidFill>
            <a:schemeClr val="tx1"/>
          </a:solidFill>
          <a:latin typeface="Teva Sans" panose="020B0604030202020203" pitchFamily="34" charset="0"/>
          <a:ea typeface="+mn-ea"/>
          <a:cs typeface="+mn-cs"/>
          <a:sym typeface="Teva Sans" panose="020B0604030202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̶"/>
        <a:defRPr sz="2200" kern="1200">
          <a:solidFill>
            <a:schemeClr val="tx1"/>
          </a:solidFill>
          <a:latin typeface="Teva Sans" panose="020B0604030202020203" pitchFamily="34" charset="0"/>
          <a:ea typeface="+mn-ea"/>
          <a:cs typeface="+mn-cs"/>
          <a:sym typeface="Teva Sans" panose="020B0604030202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4">
          <p15:clr>
            <a:srgbClr val="F26B43"/>
          </p15:clr>
        </p15:guide>
        <p15:guide id="2" pos="240">
          <p15:clr>
            <a:srgbClr val="F26B43"/>
          </p15:clr>
        </p15:guide>
        <p15:guide id="3" pos="7440">
          <p15:clr>
            <a:srgbClr val="F26B43"/>
          </p15:clr>
        </p15:guide>
        <p15:guide id="4" orient="horz" pos="38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22817A9-70E9-42BF-90EB-0C3741A288BE}"/>
              </a:ext>
            </a:extLst>
          </p:cNvPr>
          <p:cNvSpPr/>
          <p:nvPr userDrawn="1"/>
        </p:nvSpPr>
        <p:spPr>
          <a:xfrm>
            <a:off x="3048" y="-1"/>
            <a:ext cx="12188952" cy="963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86CFB2-438C-45F5-9C3C-0202F4A12863}"/>
              </a:ext>
            </a:extLst>
          </p:cNvPr>
          <p:cNvSpPr/>
          <p:nvPr userDrawn="1"/>
        </p:nvSpPr>
        <p:spPr>
          <a:xfrm>
            <a:off x="3048" y="6305634"/>
            <a:ext cx="12188952" cy="5523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FF02BE-D5C6-41AD-9BD3-644BD9971E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91352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FF02BE-D5C6-41AD-9BD3-644BD9971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8120" y="431800"/>
            <a:ext cx="11795760" cy="533400"/>
          </a:xfrm>
          <a:prstGeom prst="rect">
            <a:avLst/>
          </a:prstGeom>
        </p:spPr>
        <p:txBody>
          <a:bodyPr vert="horz" lIns="0" tIns="0" rIns="0" bIns="9144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120" y="1135781"/>
            <a:ext cx="11795760" cy="5974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Freeform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98120" y="6488379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57445" y="6500606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397153-3A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751394" y="655511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2DB67A-F6C1-4F35-AF07-6FD83FB09E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7827037" y="6592939"/>
            <a:ext cx="369366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bg1">
                    <a:lumMod val="65000"/>
                  </a:schemeClr>
                </a:solidFill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 algn="r"/>
            <a:r>
              <a:rPr lang="en-US" b="1" noProof="0">
                <a:solidFill>
                  <a:schemeClr val="tx2"/>
                </a:solidFill>
              </a:rPr>
              <a:t>With you every step of the way</a:t>
            </a:r>
            <a:endParaRPr lang="en-GB" b="1" noProof="0">
              <a:solidFill>
                <a:schemeClr val="tx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351DE26-E425-45B6-8331-F39769B3C5C5}"/>
              </a:ext>
            </a:extLst>
          </p:cNvPr>
          <p:cNvCxnSpPr>
            <a:cxnSpLocks/>
          </p:cNvCxnSpPr>
          <p:nvPr userDrawn="1"/>
        </p:nvCxnSpPr>
        <p:spPr>
          <a:xfrm>
            <a:off x="11683507" y="6535860"/>
            <a:ext cx="0" cy="149412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ED97EB1-C058-4D68-9B1D-694058743453}"/>
              </a:ext>
            </a:extLst>
          </p:cNvPr>
          <p:cNvCxnSpPr>
            <a:cxnSpLocks/>
          </p:cNvCxnSpPr>
          <p:nvPr userDrawn="1"/>
        </p:nvCxnSpPr>
        <p:spPr>
          <a:xfrm>
            <a:off x="0" y="965200"/>
            <a:ext cx="1218895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7953F51-70BA-4AA7-B6F9-900C5218728F}"/>
              </a:ext>
            </a:extLst>
          </p:cNvPr>
          <p:cNvCxnSpPr>
            <a:cxnSpLocks/>
          </p:cNvCxnSpPr>
          <p:nvPr userDrawn="1"/>
        </p:nvCxnSpPr>
        <p:spPr>
          <a:xfrm>
            <a:off x="0" y="6305635"/>
            <a:ext cx="12188952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9255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9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75000"/>
        </a:lnSpc>
        <a:spcBef>
          <a:spcPts val="60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00"/>
        </a:lnSpc>
        <a:spcBef>
          <a:spcPts val="0"/>
        </a:spcBef>
        <a:spcAft>
          <a:spcPts val="600"/>
        </a:spcAft>
        <a:buFontTx/>
        <a:buNone/>
        <a:defRPr sz="1600" b="0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4" y="6266997"/>
            <a:ext cx="4667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423389-1A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9AC77B96-D96C-4FA2-858B-DEE0A3A7B7B6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20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6" r:id="rId23"/>
    <p:sldLayoutId id="2147483957" r:id="rId24"/>
    <p:sldLayoutId id="2147483958" r:id="rId25"/>
    <p:sldLayoutId id="2147483959" r:id="rId26"/>
    <p:sldLayoutId id="2147483960" r:id="rId27"/>
    <p:sldLayoutId id="2147483961" r:id="rId28"/>
    <p:sldLayoutId id="2147483962" r:id="rId29"/>
    <p:sldLayoutId id="2147483963" r:id="rId30"/>
    <p:sldLayoutId id="2147483964" r:id="rId31"/>
    <p:sldLayoutId id="2147483965" r:id="rId32"/>
    <p:sldLayoutId id="2147483966" r:id="rId33"/>
    <p:sldLayoutId id="2147483967" r:id="rId34"/>
    <p:sldLayoutId id="2147483968" r:id="rId35"/>
    <p:sldLayoutId id="2147483969" r:id="rId36"/>
    <p:sldLayoutId id="2147483970" r:id="rId37"/>
    <p:sldLayoutId id="2147483971" r:id="rId38"/>
    <p:sldLayoutId id="2147483972" r:id="rId39"/>
    <p:sldLayoutId id="2147483973" r:id="rId40"/>
    <p:sldLayoutId id="2147483974" r:id="rId41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9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9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4" y="6266997"/>
            <a:ext cx="4667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LLP, a Delaware limited liability partnership and a member firm of the KPMG global organization of independent member firms affiliated with KPMG International Limited, a private English company limited by guarantee. All rights reserved. NDP423389-1A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9AC77B96-D96C-4FA2-858B-DEE0A3A7B7B6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79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  <p:sldLayoutId id="2147483998" r:id="rId21"/>
    <p:sldLayoutId id="2147483999" r:id="rId22"/>
    <p:sldLayoutId id="2147484000" r:id="rId23"/>
    <p:sldLayoutId id="2147484001" r:id="rId24"/>
    <p:sldLayoutId id="2147484002" r:id="rId25"/>
    <p:sldLayoutId id="2147484003" r:id="rId26"/>
    <p:sldLayoutId id="2147484004" r:id="rId27"/>
    <p:sldLayoutId id="2147484005" r:id="rId28"/>
    <p:sldLayoutId id="2147484006" r:id="rId29"/>
    <p:sldLayoutId id="2147484007" r:id="rId30"/>
    <p:sldLayoutId id="2147484008" r:id="rId31"/>
    <p:sldLayoutId id="2147484009" r:id="rId32"/>
    <p:sldLayoutId id="2147484010" r:id="rId33"/>
    <p:sldLayoutId id="2147484011" r:id="rId34"/>
    <p:sldLayoutId id="2147484012" r:id="rId35"/>
    <p:sldLayoutId id="2147484013" r:id="rId36"/>
    <p:sldLayoutId id="2147484014" r:id="rId37"/>
    <p:sldLayoutId id="2147484015" r:id="rId38"/>
    <p:sldLayoutId id="2147484016" r:id="rId39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AEE6C-8703-4656-9D70-523796ABF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pstone </a:t>
            </a:r>
            <a:br>
              <a:rPr lang="en-US" dirty="0"/>
            </a:br>
            <a:r>
              <a:rPr lang="en-US" dirty="0"/>
              <a:t>Used Car Prices </a:t>
            </a:r>
            <a:br>
              <a:rPr lang="en-US" dirty="0"/>
            </a:br>
            <a:r>
              <a:rPr lang="en-US" dirty="0"/>
              <a:t>Final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E6645-3E5F-49F5-A128-C4D39D39CA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ahul Mody, Kelsey Luo</a:t>
            </a:r>
          </a:p>
        </p:txBody>
      </p:sp>
    </p:spTree>
    <p:extLst>
      <p:ext uri="{BB962C8B-B14F-4D97-AF65-F5344CB8AC3E}">
        <p14:creationId xmlns:p14="http://schemas.microsoft.com/office/powerpoint/2010/main" val="2471409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3EE661-6CCD-4DBE-8420-85718A63D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 with Tuned Hyperparamet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739D3B-8B07-4525-922D-F624147D0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364" y="3456131"/>
            <a:ext cx="3753374" cy="249589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3B92A85-10ED-4F9D-BC39-9D7510C8BCBE}"/>
              </a:ext>
            </a:extLst>
          </p:cNvPr>
          <p:cNvSpPr txBox="1"/>
          <p:nvPr/>
        </p:nvSpPr>
        <p:spPr>
          <a:xfrm>
            <a:off x="995364" y="1236171"/>
            <a:ext cx="3753374" cy="2086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200 Decision trees used</a:t>
            </a: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No max depth, no minimum number of samples for a leaf node</a:t>
            </a: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Maximum features in a decision is 0.5 </a:t>
            </a: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No sign of overfitting, due to original random forest strength </a:t>
            </a: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A47DD-AAA8-4719-8413-4321F59486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6407" y="2250306"/>
            <a:ext cx="4460229" cy="370172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3629AD-C85D-4C10-B565-BFC830B79DB5}"/>
              </a:ext>
            </a:extLst>
          </p:cNvPr>
          <p:cNvSpPr txBox="1"/>
          <p:nvPr/>
        </p:nvSpPr>
        <p:spPr>
          <a:xfrm>
            <a:off x="7161179" y="1174402"/>
            <a:ext cx="4035457" cy="2086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New price, year, engine, and power</a:t>
            </a: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Strong performance regardless of which features we use</a:t>
            </a:r>
          </a:p>
        </p:txBody>
      </p:sp>
    </p:spTree>
    <p:extLst>
      <p:ext uri="{BB962C8B-B14F-4D97-AF65-F5344CB8AC3E}">
        <p14:creationId xmlns:p14="http://schemas.microsoft.com/office/powerpoint/2010/main" val="21891089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E6F55-9951-44EB-B69D-A897D2682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Model Finding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7E4AF6-DAAE-4D50-80E7-2C0BDF291A83}"/>
              </a:ext>
            </a:extLst>
          </p:cNvPr>
          <p:cNvSpPr txBox="1"/>
          <p:nvPr/>
        </p:nvSpPr>
        <p:spPr>
          <a:xfrm>
            <a:off x="995364" y="1139018"/>
            <a:ext cx="4524903" cy="4309032"/>
          </a:xfrm>
          <a:prstGeom prst="rect">
            <a:avLst/>
          </a:prstGeom>
          <a:solidFill>
            <a:schemeClr val="accent2"/>
          </a:solidFill>
        </p:spPr>
        <p:txBody>
          <a:bodyPr wrap="square" lIns="180000" tIns="274320" rIns="180000" bIns="18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3600" b="1" dirty="0">
                <a:solidFill>
                  <a:schemeClr val="bg1"/>
                </a:solidFill>
                <a:latin typeface="KPMG Bold"/>
              </a:rPr>
              <a:t>01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PMG 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 what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Arial"/>
              </a:rPr>
              <a:t>We can now use the random forest model to determine the price of a used car</a:t>
            </a:r>
          </a:p>
          <a:p>
            <a:pPr marL="171450" indent="-1714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Arial"/>
              </a:rPr>
              <a:t>Some features are more important than others, but the model does not rely on one particular feature </a:t>
            </a:r>
          </a:p>
          <a:p>
            <a:pPr marL="628650" lvl="1" indent="-1714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Arial"/>
              </a:rPr>
              <a:t>Can apply analysis with missing features, with still roughly a strong performance </a:t>
            </a:r>
          </a:p>
          <a:p>
            <a:pPr marL="171450" indent="-1714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Arial"/>
              </a:rPr>
              <a:t>Low chance of overfitting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GB" sz="1200" dirty="0">
              <a:solidFill>
                <a:srgbClr val="FFFFFF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4085AD-756C-4AAA-8D9B-5BD50FD44866}"/>
              </a:ext>
            </a:extLst>
          </p:cNvPr>
          <p:cNvSpPr txBox="1"/>
          <p:nvPr/>
        </p:nvSpPr>
        <p:spPr>
          <a:xfrm>
            <a:off x="6583364" y="1139018"/>
            <a:ext cx="4524903" cy="4309032"/>
          </a:xfrm>
          <a:prstGeom prst="rect">
            <a:avLst/>
          </a:prstGeom>
          <a:solidFill>
            <a:schemeClr val="accent2"/>
          </a:solidFill>
        </p:spPr>
        <p:txBody>
          <a:bodyPr wrap="square" lIns="180000" tIns="274320" rIns="180000" bIns="18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3600" b="1" dirty="0">
                <a:solidFill>
                  <a:schemeClr val="bg1"/>
                </a:solidFill>
                <a:latin typeface="KPMG Bold"/>
              </a:rPr>
              <a:t>02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PMG 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ving Forward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Based on data, we can increase price for profits or decrease to increase demand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Risk: Must be careful in which data this works for; would only work for data relevant to the same year. Worth a 3</a:t>
            </a:r>
            <a:r>
              <a:rPr lang="en-GB" sz="1400" baseline="30000" dirty="0">
                <a:solidFill>
                  <a:srgbClr val="FFFFFF"/>
                </a:solidFill>
                <a:latin typeface="Arial"/>
              </a:rPr>
              <a:t>rd</a:t>
            </a:r>
            <a:r>
              <a:rPr lang="en-GB" sz="1400" dirty="0">
                <a:solidFill>
                  <a:srgbClr val="FFFFFF"/>
                </a:solidFill>
                <a:latin typeface="Arial"/>
              </a:rPr>
              <a:t> dataset to look 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The data could be better suited in a non-linear relationship, which has not been captured in these model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Deeper dive into feature importance, and what variables may be more important to look in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400" dirty="0">
              <a:solidFill>
                <a:srgbClr val="FFFFFF"/>
              </a:solidFill>
              <a:latin typeface="Arial"/>
            </a:endParaRPr>
          </a:p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4032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DC161D-475D-40EC-9BF2-429449C103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</p:spPr>
        <p:txBody>
          <a:bodyPr anchor="ctr"/>
          <a:lstStyle/>
          <a:p>
            <a:r>
              <a:rPr lang="en-US" dirty="0"/>
              <a:t>Thank you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0394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485BC1-A217-4563-8029-60DA93877AD1}"/>
              </a:ext>
            </a:extLst>
          </p:cNvPr>
          <p:cNvSpPr/>
          <p:nvPr/>
        </p:nvSpPr>
        <p:spPr>
          <a:xfrm>
            <a:off x="6999514" y="5965371"/>
            <a:ext cx="4528457" cy="751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875994-3C83-4FE9-BCCD-E05BA2E0CC10}"/>
              </a:ext>
            </a:extLst>
          </p:cNvPr>
          <p:cNvSpPr/>
          <p:nvPr/>
        </p:nvSpPr>
        <p:spPr>
          <a:xfrm>
            <a:off x="0" y="0"/>
            <a:ext cx="7146235" cy="6858000"/>
          </a:xfrm>
          <a:prstGeom prst="rect">
            <a:avLst/>
          </a:prstGeom>
          <a:gradFill>
            <a:gsLst>
              <a:gs pos="0">
                <a:srgbClr val="7213EA"/>
              </a:gs>
              <a:gs pos="100000">
                <a:srgbClr val="1E49E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1A2FBD-E8D6-442D-8C1A-FAAC4B873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400" y="2949348"/>
            <a:ext cx="3239771" cy="533400"/>
          </a:xfrm>
        </p:spPr>
        <p:txBody>
          <a:bodyPr anchor="b"/>
          <a:lstStyle/>
          <a:p>
            <a:r>
              <a:rPr lang="en-US" sz="6600">
                <a:solidFill>
                  <a:schemeClr val="bg1"/>
                </a:solidFill>
              </a:rPr>
              <a:t>Agenda</a:t>
            </a: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1286812F-B873-41C4-AADA-AE682E1777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899907"/>
              </p:ext>
            </p:extLst>
          </p:nvPr>
        </p:nvGraphicFramePr>
        <p:xfrm>
          <a:off x="5125795" y="689641"/>
          <a:ext cx="6037680" cy="51342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9909">
                  <a:extLst>
                    <a:ext uri="{9D8B030D-6E8A-4147-A177-3AD203B41FA5}">
                      <a16:colId xmlns:a16="http://schemas.microsoft.com/office/drawing/2014/main" val="2304309990"/>
                    </a:ext>
                  </a:extLst>
                </a:gridCol>
                <a:gridCol w="4047771">
                  <a:extLst>
                    <a:ext uri="{9D8B030D-6E8A-4147-A177-3AD203B41FA5}">
                      <a16:colId xmlns:a16="http://schemas.microsoft.com/office/drawing/2014/main" val="1500843774"/>
                    </a:ext>
                  </a:extLst>
                </a:gridCol>
              </a:tblGrid>
              <a:tr h="597109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Executive Summary</a:t>
                      </a:r>
                      <a:endParaRPr lang="en-US" sz="1600" dirty="0"/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513152"/>
                  </a:ext>
                </a:extLst>
              </a:tr>
              <a:tr h="664053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Business Problem Overview &amp; Solution Design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310512"/>
                  </a:ext>
                </a:extLst>
              </a:tr>
              <a:tr h="664053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338D"/>
                          </a:solidFill>
                        </a:rPr>
                        <a:t>Data Preprocessing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5634056"/>
                  </a:ext>
                </a:extLst>
              </a:tr>
              <a:tr h="664053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Exploratory Data Analysis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736968"/>
                  </a:ext>
                </a:extLst>
              </a:tr>
              <a:tr h="664053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Model Performance Summary</a:t>
                      </a:r>
                      <a:endParaRPr lang="en-US" b="0" dirty="0">
                        <a:solidFill>
                          <a:srgbClr val="00338D"/>
                        </a:solidFill>
                      </a:endParaRP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3780928"/>
                  </a:ext>
                </a:extLst>
              </a:tr>
              <a:tr h="626965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Random Forest 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093447"/>
                  </a:ext>
                </a:extLst>
              </a:tr>
              <a:tr h="626965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Business Impact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361919"/>
                  </a:ext>
                </a:extLst>
              </a:tr>
              <a:tr h="626965">
                <a:tc>
                  <a:txBody>
                    <a:bodyPr/>
                    <a:lstStyle/>
                    <a:p>
                      <a:pPr lvl="0" algn="r"/>
                      <a:r>
                        <a:rPr lang="en-US" sz="2800" b="1" dirty="0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338D"/>
                          </a:solidFill>
                        </a:rPr>
                        <a:t>Q&amp;A</a:t>
                      </a:r>
                    </a:p>
                  </a:txBody>
                  <a:tcPr marL="365760" marR="3657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39369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78142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22990D6-AB95-4558-945E-D91F9FAAB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D36B1B48-7876-4B62-B956-EB5990F00EC4}"/>
              </a:ext>
            </a:extLst>
          </p:cNvPr>
          <p:cNvSpPr txBox="1">
            <a:spLocks/>
          </p:cNvSpPr>
          <p:nvPr/>
        </p:nvSpPr>
        <p:spPr>
          <a:xfrm>
            <a:off x="1107232" y="1197487"/>
            <a:ext cx="4895867" cy="372778"/>
          </a:xfrm>
          <a:prstGeom prst="rect">
            <a:avLst/>
          </a:prstGeom>
          <a:solidFill>
            <a:srgbClr val="7213EA"/>
          </a:solidFill>
          <a:ln>
            <a:solidFill>
              <a:srgbClr val="483698"/>
            </a:solidFill>
          </a:ln>
        </p:spPr>
        <p:txBody>
          <a:bodyPr vert="horz" lIns="45720" tIns="45720" rIns="4572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800" dirty="0">
                <a:solidFill>
                  <a:schemeClr val="bg1"/>
                </a:solidFill>
              </a:rPr>
              <a:t>Context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C0D02E6-8374-47F4-ADFC-63F34354CD6B}"/>
              </a:ext>
            </a:extLst>
          </p:cNvPr>
          <p:cNvSpPr/>
          <p:nvPr/>
        </p:nvSpPr>
        <p:spPr>
          <a:xfrm flipH="1">
            <a:off x="6311466" y="1272023"/>
            <a:ext cx="49513" cy="4333181"/>
          </a:xfrm>
          <a:prstGeom prst="rect">
            <a:avLst/>
          </a:prstGeom>
          <a:solidFill>
            <a:srgbClr val="00338D"/>
          </a:solidFill>
          <a:ln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DE95658F-4D93-4E70-8A35-E9F191558732}"/>
              </a:ext>
            </a:extLst>
          </p:cNvPr>
          <p:cNvSpPr txBox="1">
            <a:spLocks/>
          </p:cNvSpPr>
          <p:nvPr/>
        </p:nvSpPr>
        <p:spPr>
          <a:xfrm>
            <a:off x="6608560" y="1197487"/>
            <a:ext cx="4895867" cy="372778"/>
          </a:xfrm>
          <a:prstGeom prst="rect">
            <a:avLst/>
          </a:prstGeom>
          <a:solidFill>
            <a:srgbClr val="7213EA"/>
          </a:solidFill>
          <a:ln>
            <a:solidFill>
              <a:srgbClr val="0091DA"/>
            </a:solidFill>
          </a:ln>
        </p:spPr>
        <p:txBody>
          <a:bodyPr vert="horz" lIns="45720" tIns="45720" rIns="4572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800" dirty="0">
                <a:solidFill>
                  <a:schemeClr val="bg1"/>
                </a:solidFill>
              </a:rPr>
              <a:t>Insight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A515B1A-8EB4-41E8-A730-E2967B31C659}"/>
              </a:ext>
            </a:extLst>
          </p:cNvPr>
          <p:cNvSpPr txBox="1"/>
          <p:nvPr/>
        </p:nvSpPr>
        <p:spPr>
          <a:xfrm>
            <a:off x="1107232" y="1560679"/>
            <a:ext cx="4895867" cy="4044525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re-owned car market</a:t>
            </a:r>
            <a:r>
              <a:rPr lang="en-US" sz="1600" dirty="0">
                <a:solidFill>
                  <a:schemeClr val="bg1"/>
                </a:solidFill>
                <a:latin typeface="Arial"/>
              </a:rPr>
              <a:t>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India is growing larger than the new car marke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Issue lies in that pre-owned cars are difficult to price. Lots of variables at play to determine the value of a used c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Starting price, engine, power, number of seats, mileage per gallon, mileage, brand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600" dirty="0">
              <a:solidFill>
                <a:schemeClr val="bg1"/>
              </a:solidFill>
              <a:latin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mportant to solve in order to properly price the used car. Without a pricin</a:t>
            </a:r>
            <a:r>
              <a:rPr lang="en-US" sz="1600" dirty="0">
                <a:solidFill>
                  <a:schemeClr val="bg1"/>
                </a:solidFill>
                <a:latin typeface="Arial"/>
                <a:cs typeface="Arial" pitchFamily="34" charset="0"/>
              </a:rPr>
              <a:t>g model, you may end up undervaluing the car and leaving money on the table. 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lang="en-US" sz="16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DFA99E2-DAEA-456E-AA4D-5D87A59D0130}"/>
              </a:ext>
            </a:extLst>
          </p:cNvPr>
          <p:cNvSpPr txBox="1"/>
          <p:nvPr/>
        </p:nvSpPr>
        <p:spPr>
          <a:xfrm>
            <a:off x="6608560" y="1570265"/>
            <a:ext cx="4895867" cy="4044525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97989A"/>
              </a:buClr>
              <a:buSzPct val="100000"/>
              <a:defRPr/>
            </a:pPr>
            <a:endParaRPr lang="en-US" sz="1600" dirty="0">
              <a:solidFill>
                <a:schemeClr val="bg1"/>
              </a:solidFill>
              <a:latin typeface="Arial"/>
            </a:endParaRPr>
          </a:p>
          <a:p>
            <a:pPr marL="285750" indent="-285750" algn="ctr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Used random forest regression to predict the price of a used car, given all its features </a:t>
            </a:r>
          </a:p>
          <a:p>
            <a:pPr marL="285750" indent="-285750" algn="ctr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chemeClr val="bg1"/>
              </a:solidFill>
              <a:latin typeface="Arial"/>
            </a:endParaRPr>
          </a:p>
          <a:p>
            <a:pPr marL="342900" indent="-34290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We have identified the features with the most relative importance; Cars4U can focus on these</a:t>
            </a:r>
          </a:p>
          <a:p>
            <a:pPr marL="800100" lvl="1" indent="-34290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Marketing efforts </a:t>
            </a:r>
          </a:p>
          <a:p>
            <a:pPr marL="285750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Set prices based on data, to increase profitability and sales</a:t>
            </a:r>
          </a:p>
          <a:p>
            <a:pPr marL="742950" lvl="1" indent="-285750">
              <a:spcBef>
                <a:spcPts val="6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Decrease for sales or increase for more gai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Arial"/>
              </a:rPr>
              <a:t>If a car is not selling, use this pricing tool to gauge why demand is low</a:t>
            </a:r>
            <a:endParaRPr lang="en-US" sz="1100" b="1" dirty="0">
              <a:solidFill>
                <a:schemeClr val="bg1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5D11723-F82B-4B8B-AB65-DAC9EE348227}"/>
              </a:ext>
            </a:extLst>
          </p:cNvPr>
          <p:cNvSpPr/>
          <p:nvPr/>
        </p:nvSpPr>
        <p:spPr>
          <a:xfrm>
            <a:off x="747307" y="1101206"/>
            <a:ext cx="640177" cy="640177"/>
          </a:xfrm>
          <a:prstGeom prst="ellipse">
            <a:avLst/>
          </a:prstGeom>
          <a:solidFill>
            <a:srgbClr val="7213E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B2DF28F-3881-4E68-B183-8D0FEC481023}"/>
              </a:ext>
            </a:extLst>
          </p:cNvPr>
          <p:cNvGrpSpPr/>
          <p:nvPr/>
        </p:nvGrpSpPr>
        <p:grpSpPr>
          <a:xfrm>
            <a:off x="879610" y="1251263"/>
            <a:ext cx="344735" cy="337367"/>
            <a:chOff x="8026400" y="2486025"/>
            <a:chExt cx="1485900" cy="1463676"/>
          </a:xfrm>
          <a:solidFill>
            <a:schemeClr val="bg1"/>
          </a:solidFill>
        </p:grpSpPr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D1768698-4C84-4FBF-A6DE-EB44768AE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6400" y="3697288"/>
              <a:ext cx="420688" cy="25241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245" y="159"/>
                </a:cxn>
                <a:cxn ang="0">
                  <a:pos x="265" y="120"/>
                </a:cxn>
                <a:cxn ang="0">
                  <a:pos x="19" y="0"/>
                </a:cxn>
                <a:cxn ang="0">
                  <a:pos x="0" y="88"/>
                </a:cxn>
              </a:cxnLst>
              <a:rect l="0" t="0" r="r" b="b"/>
              <a:pathLst>
                <a:path w="265" h="159">
                  <a:moveTo>
                    <a:pt x="0" y="88"/>
                  </a:moveTo>
                  <a:lnTo>
                    <a:pt x="245" y="159"/>
                  </a:lnTo>
                  <a:lnTo>
                    <a:pt x="265" y="120"/>
                  </a:lnTo>
                  <a:lnTo>
                    <a:pt x="19" y="0"/>
                  </a:lnTo>
                  <a:lnTo>
                    <a:pt x="0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Rectangle 39">
              <a:extLst>
                <a:ext uri="{FF2B5EF4-FFF2-40B4-BE49-F238E27FC236}">
                  <a16:creationId xmlns:a16="http://schemas.microsoft.com/office/drawing/2014/main" id="{646FE76B-DFAD-4298-92EE-54CF9FD37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3950" y="2959100"/>
              <a:ext cx="619125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Rectangle 40">
              <a:extLst>
                <a:ext uri="{FF2B5EF4-FFF2-40B4-BE49-F238E27FC236}">
                  <a16:creationId xmlns:a16="http://schemas.microsoft.com/office/drawing/2014/main" id="{64D4B0D0-6A92-4E0D-A19E-0460A5212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3950" y="2770188"/>
              <a:ext cx="271463" cy="825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8F693038-96F7-492B-B912-6D6CD48ED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8950" y="2486025"/>
              <a:ext cx="1403350" cy="1339850"/>
            </a:xfrm>
            <a:custGeom>
              <a:avLst/>
              <a:gdLst/>
              <a:ahLst/>
              <a:cxnLst>
                <a:cxn ang="0">
                  <a:pos x="735" y="61"/>
                </a:cxn>
                <a:cxn ang="0">
                  <a:pos x="691" y="24"/>
                </a:cxn>
                <a:cxn ang="0">
                  <a:pos x="638" y="4"/>
                </a:cxn>
                <a:cxn ang="0">
                  <a:pos x="300" y="0"/>
                </a:cxn>
                <a:cxn ang="0">
                  <a:pos x="284" y="4"/>
                </a:cxn>
                <a:cxn ang="0">
                  <a:pos x="265" y="21"/>
                </a:cxn>
                <a:cxn ang="0">
                  <a:pos x="258" y="47"/>
                </a:cxn>
                <a:cxn ang="0">
                  <a:pos x="207" y="418"/>
                </a:cxn>
                <a:cxn ang="0">
                  <a:pos x="102" y="475"/>
                </a:cxn>
                <a:cxn ang="0">
                  <a:pos x="89" y="484"/>
                </a:cxn>
                <a:cxn ang="0">
                  <a:pos x="80" y="497"/>
                </a:cxn>
                <a:cxn ang="0">
                  <a:pos x="55" y="555"/>
                </a:cxn>
                <a:cxn ang="0">
                  <a:pos x="21" y="658"/>
                </a:cxn>
                <a:cxn ang="0">
                  <a:pos x="0" y="749"/>
                </a:cxn>
                <a:cxn ang="0">
                  <a:pos x="199" y="843"/>
                </a:cxn>
                <a:cxn ang="0">
                  <a:pos x="237" y="819"/>
                </a:cxn>
                <a:cxn ang="0">
                  <a:pos x="263" y="793"/>
                </a:cxn>
                <a:cxn ang="0">
                  <a:pos x="275" y="809"/>
                </a:cxn>
                <a:cxn ang="0">
                  <a:pos x="288" y="817"/>
                </a:cxn>
                <a:cxn ang="0">
                  <a:pos x="300" y="819"/>
                </a:cxn>
                <a:cxn ang="0">
                  <a:pos x="849" y="818"/>
                </a:cxn>
                <a:cxn ang="0">
                  <a:pos x="871" y="805"/>
                </a:cxn>
                <a:cxn ang="0">
                  <a:pos x="883" y="780"/>
                </a:cxn>
                <a:cxn ang="0">
                  <a:pos x="884" y="249"/>
                </a:cxn>
                <a:cxn ang="0">
                  <a:pos x="876" y="221"/>
                </a:cxn>
                <a:cxn ang="0">
                  <a:pos x="845" y="771"/>
                </a:cxn>
                <a:cxn ang="0">
                  <a:pos x="843" y="778"/>
                </a:cxn>
                <a:cxn ang="0">
                  <a:pos x="321" y="780"/>
                </a:cxn>
                <a:cxn ang="0">
                  <a:pos x="300" y="780"/>
                </a:cxn>
                <a:cxn ang="0">
                  <a:pos x="297" y="776"/>
                </a:cxn>
                <a:cxn ang="0">
                  <a:pos x="296" y="751"/>
                </a:cxn>
                <a:cxn ang="0">
                  <a:pos x="355" y="660"/>
                </a:cxn>
                <a:cxn ang="0">
                  <a:pos x="375" y="632"/>
                </a:cxn>
                <a:cxn ang="0">
                  <a:pos x="397" y="608"/>
                </a:cxn>
                <a:cxn ang="0">
                  <a:pos x="427" y="575"/>
                </a:cxn>
                <a:cxn ang="0">
                  <a:pos x="433" y="557"/>
                </a:cxn>
                <a:cxn ang="0">
                  <a:pos x="429" y="545"/>
                </a:cxn>
                <a:cxn ang="0">
                  <a:pos x="412" y="528"/>
                </a:cxn>
                <a:cxn ang="0">
                  <a:pos x="383" y="520"/>
                </a:cxn>
                <a:cxn ang="0">
                  <a:pos x="365" y="522"/>
                </a:cxn>
                <a:cxn ang="0">
                  <a:pos x="341" y="529"/>
                </a:cxn>
                <a:cxn ang="0">
                  <a:pos x="307" y="552"/>
                </a:cxn>
                <a:cxn ang="0">
                  <a:pos x="261" y="595"/>
                </a:cxn>
                <a:cxn ang="0">
                  <a:pos x="224" y="626"/>
                </a:cxn>
                <a:cxn ang="0">
                  <a:pos x="214" y="620"/>
                </a:cxn>
                <a:cxn ang="0">
                  <a:pos x="209" y="610"/>
                </a:cxn>
                <a:cxn ang="0">
                  <a:pos x="211" y="592"/>
                </a:cxn>
                <a:cxn ang="0">
                  <a:pos x="230" y="557"/>
                </a:cxn>
                <a:cxn ang="0">
                  <a:pos x="258" y="551"/>
                </a:cxn>
                <a:cxn ang="0">
                  <a:pos x="296" y="47"/>
                </a:cxn>
                <a:cxn ang="0">
                  <a:pos x="299" y="38"/>
                </a:cxn>
                <a:cxn ang="0">
                  <a:pos x="610" y="37"/>
                </a:cxn>
                <a:cxn ang="0">
                  <a:pos x="640" y="46"/>
                </a:cxn>
                <a:cxn ang="0">
                  <a:pos x="661" y="71"/>
                </a:cxn>
                <a:cxn ang="0">
                  <a:pos x="670" y="214"/>
                </a:cxn>
                <a:cxn ang="0">
                  <a:pos x="831" y="242"/>
                </a:cxn>
                <a:cxn ang="0">
                  <a:pos x="844" y="254"/>
                </a:cxn>
                <a:cxn ang="0">
                  <a:pos x="845" y="771"/>
                </a:cxn>
              </a:cxnLst>
              <a:rect l="0" t="0" r="r" b="b"/>
              <a:pathLst>
                <a:path w="884" h="844">
                  <a:moveTo>
                    <a:pt x="870" y="213"/>
                  </a:moveTo>
                  <a:lnTo>
                    <a:pt x="735" y="61"/>
                  </a:lnTo>
                  <a:lnTo>
                    <a:pt x="735" y="61"/>
                  </a:lnTo>
                  <a:lnTo>
                    <a:pt x="722" y="46"/>
                  </a:lnTo>
                  <a:lnTo>
                    <a:pt x="706" y="35"/>
                  </a:lnTo>
                  <a:lnTo>
                    <a:pt x="691" y="24"/>
                  </a:lnTo>
                  <a:lnTo>
                    <a:pt x="674" y="16"/>
                  </a:lnTo>
                  <a:lnTo>
                    <a:pt x="657" y="9"/>
                  </a:lnTo>
                  <a:lnTo>
                    <a:pt x="638" y="4"/>
                  </a:lnTo>
                  <a:lnTo>
                    <a:pt x="619" y="1"/>
                  </a:lnTo>
                  <a:lnTo>
                    <a:pt x="600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292" y="1"/>
                  </a:lnTo>
                  <a:lnTo>
                    <a:pt x="284" y="4"/>
                  </a:lnTo>
                  <a:lnTo>
                    <a:pt x="277" y="8"/>
                  </a:lnTo>
                  <a:lnTo>
                    <a:pt x="271" y="14"/>
                  </a:lnTo>
                  <a:lnTo>
                    <a:pt x="265" y="21"/>
                  </a:lnTo>
                  <a:lnTo>
                    <a:pt x="261" y="29"/>
                  </a:lnTo>
                  <a:lnTo>
                    <a:pt x="258" y="38"/>
                  </a:lnTo>
                  <a:lnTo>
                    <a:pt x="258" y="47"/>
                  </a:lnTo>
                  <a:lnTo>
                    <a:pt x="258" y="392"/>
                  </a:lnTo>
                  <a:lnTo>
                    <a:pt x="258" y="392"/>
                  </a:lnTo>
                  <a:lnTo>
                    <a:pt x="207" y="418"/>
                  </a:lnTo>
                  <a:lnTo>
                    <a:pt x="158" y="445"/>
                  </a:lnTo>
                  <a:lnTo>
                    <a:pt x="158" y="445"/>
                  </a:lnTo>
                  <a:lnTo>
                    <a:pt x="102" y="475"/>
                  </a:lnTo>
                  <a:lnTo>
                    <a:pt x="102" y="475"/>
                  </a:lnTo>
                  <a:lnTo>
                    <a:pt x="95" y="479"/>
                  </a:lnTo>
                  <a:lnTo>
                    <a:pt x="89" y="484"/>
                  </a:lnTo>
                  <a:lnTo>
                    <a:pt x="84" y="490"/>
                  </a:lnTo>
                  <a:lnTo>
                    <a:pt x="80" y="497"/>
                  </a:lnTo>
                  <a:lnTo>
                    <a:pt x="80" y="497"/>
                  </a:lnTo>
                  <a:lnTo>
                    <a:pt x="71" y="516"/>
                  </a:lnTo>
                  <a:lnTo>
                    <a:pt x="63" y="535"/>
                  </a:lnTo>
                  <a:lnTo>
                    <a:pt x="55" y="555"/>
                  </a:lnTo>
                  <a:lnTo>
                    <a:pt x="47" y="576"/>
                  </a:lnTo>
                  <a:lnTo>
                    <a:pt x="33" y="618"/>
                  </a:lnTo>
                  <a:lnTo>
                    <a:pt x="21" y="658"/>
                  </a:lnTo>
                  <a:lnTo>
                    <a:pt x="12" y="694"/>
                  </a:lnTo>
                  <a:lnTo>
                    <a:pt x="5" y="722"/>
                  </a:lnTo>
                  <a:lnTo>
                    <a:pt x="0" y="749"/>
                  </a:lnTo>
                  <a:lnTo>
                    <a:pt x="196" y="844"/>
                  </a:lnTo>
                  <a:lnTo>
                    <a:pt x="199" y="843"/>
                  </a:lnTo>
                  <a:lnTo>
                    <a:pt x="199" y="843"/>
                  </a:lnTo>
                  <a:lnTo>
                    <a:pt x="215" y="834"/>
                  </a:lnTo>
                  <a:lnTo>
                    <a:pt x="229" y="825"/>
                  </a:lnTo>
                  <a:lnTo>
                    <a:pt x="237" y="819"/>
                  </a:lnTo>
                  <a:lnTo>
                    <a:pt x="245" y="812"/>
                  </a:lnTo>
                  <a:lnTo>
                    <a:pt x="253" y="804"/>
                  </a:lnTo>
                  <a:lnTo>
                    <a:pt x="263" y="793"/>
                  </a:lnTo>
                  <a:lnTo>
                    <a:pt x="263" y="793"/>
                  </a:lnTo>
                  <a:lnTo>
                    <a:pt x="268" y="802"/>
                  </a:lnTo>
                  <a:lnTo>
                    <a:pt x="275" y="809"/>
                  </a:lnTo>
                  <a:lnTo>
                    <a:pt x="275" y="809"/>
                  </a:lnTo>
                  <a:lnTo>
                    <a:pt x="283" y="815"/>
                  </a:lnTo>
                  <a:lnTo>
                    <a:pt x="288" y="817"/>
                  </a:lnTo>
                  <a:lnTo>
                    <a:pt x="292" y="818"/>
                  </a:lnTo>
                  <a:lnTo>
                    <a:pt x="292" y="818"/>
                  </a:lnTo>
                  <a:lnTo>
                    <a:pt x="300" y="819"/>
                  </a:lnTo>
                  <a:lnTo>
                    <a:pt x="841" y="819"/>
                  </a:lnTo>
                  <a:lnTo>
                    <a:pt x="841" y="819"/>
                  </a:lnTo>
                  <a:lnTo>
                    <a:pt x="849" y="818"/>
                  </a:lnTo>
                  <a:lnTo>
                    <a:pt x="857" y="815"/>
                  </a:lnTo>
                  <a:lnTo>
                    <a:pt x="864" y="811"/>
                  </a:lnTo>
                  <a:lnTo>
                    <a:pt x="871" y="805"/>
                  </a:lnTo>
                  <a:lnTo>
                    <a:pt x="877" y="797"/>
                  </a:lnTo>
                  <a:lnTo>
                    <a:pt x="880" y="789"/>
                  </a:lnTo>
                  <a:lnTo>
                    <a:pt x="883" y="780"/>
                  </a:lnTo>
                  <a:lnTo>
                    <a:pt x="884" y="771"/>
                  </a:lnTo>
                  <a:lnTo>
                    <a:pt x="884" y="249"/>
                  </a:lnTo>
                  <a:lnTo>
                    <a:pt x="884" y="249"/>
                  </a:lnTo>
                  <a:lnTo>
                    <a:pt x="883" y="239"/>
                  </a:lnTo>
                  <a:lnTo>
                    <a:pt x="880" y="230"/>
                  </a:lnTo>
                  <a:lnTo>
                    <a:pt x="876" y="221"/>
                  </a:lnTo>
                  <a:lnTo>
                    <a:pt x="870" y="213"/>
                  </a:lnTo>
                  <a:lnTo>
                    <a:pt x="870" y="213"/>
                  </a:lnTo>
                  <a:close/>
                  <a:moveTo>
                    <a:pt x="845" y="771"/>
                  </a:moveTo>
                  <a:lnTo>
                    <a:pt x="845" y="771"/>
                  </a:lnTo>
                  <a:lnTo>
                    <a:pt x="845" y="775"/>
                  </a:lnTo>
                  <a:lnTo>
                    <a:pt x="843" y="778"/>
                  </a:lnTo>
                  <a:lnTo>
                    <a:pt x="842" y="780"/>
                  </a:lnTo>
                  <a:lnTo>
                    <a:pt x="841" y="780"/>
                  </a:lnTo>
                  <a:lnTo>
                    <a:pt x="321" y="780"/>
                  </a:lnTo>
                  <a:lnTo>
                    <a:pt x="321" y="780"/>
                  </a:lnTo>
                  <a:lnTo>
                    <a:pt x="302" y="781"/>
                  </a:lnTo>
                  <a:lnTo>
                    <a:pt x="300" y="780"/>
                  </a:lnTo>
                  <a:lnTo>
                    <a:pt x="299" y="779"/>
                  </a:lnTo>
                  <a:lnTo>
                    <a:pt x="299" y="779"/>
                  </a:lnTo>
                  <a:lnTo>
                    <a:pt x="297" y="776"/>
                  </a:lnTo>
                  <a:lnTo>
                    <a:pt x="296" y="771"/>
                  </a:lnTo>
                  <a:lnTo>
                    <a:pt x="296" y="751"/>
                  </a:lnTo>
                  <a:lnTo>
                    <a:pt x="296" y="751"/>
                  </a:lnTo>
                  <a:lnTo>
                    <a:pt x="311" y="729"/>
                  </a:lnTo>
                  <a:lnTo>
                    <a:pt x="326" y="705"/>
                  </a:lnTo>
                  <a:lnTo>
                    <a:pt x="355" y="660"/>
                  </a:lnTo>
                  <a:lnTo>
                    <a:pt x="355" y="660"/>
                  </a:lnTo>
                  <a:lnTo>
                    <a:pt x="365" y="645"/>
                  </a:lnTo>
                  <a:lnTo>
                    <a:pt x="375" y="632"/>
                  </a:lnTo>
                  <a:lnTo>
                    <a:pt x="387" y="619"/>
                  </a:lnTo>
                  <a:lnTo>
                    <a:pt x="397" y="608"/>
                  </a:lnTo>
                  <a:lnTo>
                    <a:pt x="397" y="608"/>
                  </a:lnTo>
                  <a:lnTo>
                    <a:pt x="411" y="594"/>
                  </a:lnTo>
                  <a:lnTo>
                    <a:pt x="423" y="581"/>
                  </a:lnTo>
                  <a:lnTo>
                    <a:pt x="427" y="575"/>
                  </a:lnTo>
                  <a:lnTo>
                    <a:pt x="430" y="568"/>
                  </a:lnTo>
                  <a:lnTo>
                    <a:pt x="432" y="562"/>
                  </a:lnTo>
                  <a:lnTo>
                    <a:pt x="433" y="557"/>
                  </a:lnTo>
                  <a:lnTo>
                    <a:pt x="433" y="557"/>
                  </a:lnTo>
                  <a:lnTo>
                    <a:pt x="432" y="551"/>
                  </a:lnTo>
                  <a:lnTo>
                    <a:pt x="429" y="545"/>
                  </a:lnTo>
                  <a:lnTo>
                    <a:pt x="425" y="539"/>
                  </a:lnTo>
                  <a:lnTo>
                    <a:pt x="420" y="533"/>
                  </a:lnTo>
                  <a:lnTo>
                    <a:pt x="412" y="528"/>
                  </a:lnTo>
                  <a:lnTo>
                    <a:pt x="404" y="524"/>
                  </a:lnTo>
                  <a:lnTo>
                    <a:pt x="394" y="521"/>
                  </a:lnTo>
                  <a:lnTo>
                    <a:pt x="383" y="520"/>
                  </a:lnTo>
                  <a:lnTo>
                    <a:pt x="383" y="520"/>
                  </a:lnTo>
                  <a:lnTo>
                    <a:pt x="374" y="521"/>
                  </a:lnTo>
                  <a:lnTo>
                    <a:pt x="365" y="522"/>
                  </a:lnTo>
                  <a:lnTo>
                    <a:pt x="357" y="524"/>
                  </a:lnTo>
                  <a:lnTo>
                    <a:pt x="349" y="526"/>
                  </a:lnTo>
                  <a:lnTo>
                    <a:pt x="341" y="529"/>
                  </a:lnTo>
                  <a:lnTo>
                    <a:pt x="334" y="532"/>
                  </a:lnTo>
                  <a:lnTo>
                    <a:pt x="320" y="541"/>
                  </a:lnTo>
                  <a:lnTo>
                    <a:pt x="307" y="552"/>
                  </a:lnTo>
                  <a:lnTo>
                    <a:pt x="293" y="565"/>
                  </a:lnTo>
                  <a:lnTo>
                    <a:pt x="261" y="595"/>
                  </a:lnTo>
                  <a:lnTo>
                    <a:pt x="261" y="595"/>
                  </a:lnTo>
                  <a:lnTo>
                    <a:pt x="249" y="606"/>
                  </a:lnTo>
                  <a:lnTo>
                    <a:pt x="238" y="615"/>
                  </a:lnTo>
                  <a:lnTo>
                    <a:pt x="224" y="626"/>
                  </a:lnTo>
                  <a:lnTo>
                    <a:pt x="224" y="626"/>
                  </a:lnTo>
                  <a:lnTo>
                    <a:pt x="219" y="624"/>
                  </a:lnTo>
                  <a:lnTo>
                    <a:pt x="214" y="620"/>
                  </a:lnTo>
                  <a:lnTo>
                    <a:pt x="211" y="616"/>
                  </a:lnTo>
                  <a:lnTo>
                    <a:pt x="209" y="610"/>
                  </a:lnTo>
                  <a:lnTo>
                    <a:pt x="209" y="610"/>
                  </a:lnTo>
                  <a:lnTo>
                    <a:pt x="208" y="606"/>
                  </a:lnTo>
                  <a:lnTo>
                    <a:pt x="208" y="601"/>
                  </a:lnTo>
                  <a:lnTo>
                    <a:pt x="211" y="592"/>
                  </a:lnTo>
                  <a:lnTo>
                    <a:pt x="215" y="581"/>
                  </a:lnTo>
                  <a:lnTo>
                    <a:pt x="222" y="569"/>
                  </a:lnTo>
                  <a:lnTo>
                    <a:pt x="230" y="557"/>
                  </a:lnTo>
                  <a:lnTo>
                    <a:pt x="239" y="545"/>
                  </a:lnTo>
                  <a:lnTo>
                    <a:pt x="258" y="520"/>
                  </a:lnTo>
                  <a:lnTo>
                    <a:pt x="258" y="551"/>
                  </a:lnTo>
                  <a:lnTo>
                    <a:pt x="296" y="505"/>
                  </a:lnTo>
                  <a:lnTo>
                    <a:pt x="296" y="47"/>
                  </a:lnTo>
                  <a:lnTo>
                    <a:pt x="296" y="47"/>
                  </a:lnTo>
                  <a:lnTo>
                    <a:pt x="296" y="43"/>
                  </a:lnTo>
                  <a:lnTo>
                    <a:pt x="298" y="40"/>
                  </a:lnTo>
                  <a:lnTo>
                    <a:pt x="299" y="38"/>
                  </a:lnTo>
                  <a:lnTo>
                    <a:pt x="300" y="37"/>
                  </a:lnTo>
                  <a:lnTo>
                    <a:pt x="610" y="37"/>
                  </a:lnTo>
                  <a:lnTo>
                    <a:pt x="610" y="37"/>
                  </a:lnTo>
                  <a:lnTo>
                    <a:pt x="621" y="39"/>
                  </a:lnTo>
                  <a:lnTo>
                    <a:pt x="631" y="42"/>
                  </a:lnTo>
                  <a:lnTo>
                    <a:pt x="640" y="46"/>
                  </a:lnTo>
                  <a:lnTo>
                    <a:pt x="649" y="54"/>
                  </a:lnTo>
                  <a:lnTo>
                    <a:pt x="656" y="62"/>
                  </a:lnTo>
                  <a:lnTo>
                    <a:pt x="661" y="71"/>
                  </a:lnTo>
                  <a:lnTo>
                    <a:pt x="665" y="81"/>
                  </a:lnTo>
                  <a:lnTo>
                    <a:pt x="666" y="91"/>
                  </a:lnTo>
                  <a:lnTo>
                    <a:pt x="670" y="214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31" y="242"/>
                  </a:lnTo>
                  <a:lnTo>
                    <a:pt x="834" y="243"/>
                  </a:lnTo>
                  <a:lnTo>
                    <a:pt x="839" y="248"/>
                  </a:lnTo>
                  <a:lnTo>
                    <a:pt x="844" y="254"/>
                  </a:lnTo>
                  <a:lnTo>
                    <a:pt x="845" y="258"/>
                  </a:lnTo>
                  <a:lnTo>
                    <a:pt x="845" y="261"/>
                  </a:lnTo>
                  <a:lnTo>
                    <a:pt x="845" y="7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AC73DF30-DC72-4C3A-94EA-3ADF34C43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3963" y="3336925"/>
              <a:ext cx="519113" cy="82550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327" y="52"/>
                </a:cxn>
                <a:cxn ang="0">
                  <a:pos x="327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6"/>
                </a:cxn>
                <a:cxn ang="0">
                  <a:pos x="6" y="12"/>
                </a:cxn>
                <a:cxn ang="0">
                  <a:pos x="7" y="18"/>
                </a:cxn>
                <a:cxn ang="0">
                  <a:pos x="7" y="24"/>
                </a:cxn>
                <a:cxn ang="0">
                  <a:pos x="6" y="31"/>
                </a:cxn>
                <a:cxn ang="0">
                  <a:pos x="5" y="37"/>
                </a:cxn>
                <a:cxn ang="0">
                  <a:pos x="3" y="45"/>
                </a:cxn>
                <a:cxn ang="0">
                  <a:pos x="0" y="52"/>
                </a:cxn>
                <a:cxn ang="0">
                  <a:pos x="0" y="52"/>
                </a:cxn>
              </a:cxnLst>
              <a:rect l="0" t="0" r="r" b="b"/>
              <a:pathLst>
                <a:path w="327" h="52">
                  <a:moveTo>
                    <a:pt x="0" y="52"/>
                  </a:moveTo>
                  <a:lnTo>
                    <a:pt x="327" y="52"/>
                  </a:lnTo>
                  <a:lnTo>
                    <a:pt x="32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6"/>
                  </a:lnTo>
                  <a:lnTo>
                    <a:pt x="6" y="12"/>
                  </a:lnTo>
                  <a:lnTo>
                    <a:pt x="7" y="18"/>
                  </a:lnTo>
                  <a:lnTo>
                    <a:pt x="7" y="24"/>
                  </a:lnTo>
                  <a:lnTo>
                    <a:pt x="6" y="31"/>
                  </a:lnTo>
                  <a:lnTo>
                    <a:pt x="5" y="37"/>
                  </a:lnTo>
                  <a:lnTo>
                    <a:pt x="3" y="45"/>
                  </a:lnTo>
                  <a:lnTo>
                    <a:pt x="0" y="52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Rectangle 43">
              <a:extLst>
                <a:ext uri="{FF2B5EF4-FFF2-40B4-BE49-F238E27FC236}">
                  <a16:creationId xmlns:a16="http://schemas.microsoft.com/office/drawing/2014/main" id="{EC4F36A7-D2FB-49F7-98E2-0F7B4C71F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49600"/>
              <a:ext cx="696913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9472A298-54D1-4527-85CB-A6853A1EF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4738" y="3529013"/>
              <a:ext cx="320675" cy="80963"/>
            </a:xfrm>
            <a:custGeom>
              <a:avLst/>
              <a:gdLst/>
              <a:ahLst/>
              <a:cxnLst>
                <a:cxn ang="0">
                  <a:pos x="18" y="22"/>
                </a:cxn>
                <a:cxn ang="0">
                  <a:pos x="18" y="22"/>
                </a:cxn>
                <a:cxn ang="0">
                  <a:pos x="0" y="51"/>
                </a:cxn>
                <a:cxn ang="0">
                  <a:pos x="202" y="51"/>
                </a:cxn>
                <a:cxn ang="0">
                  <a:pos x="202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6" y="11"/>
                </a:cxn>
                <a:cxn ang="0">
                  <a:pos x="18" y="22"/>
                </a:cxn>
                <a:cxn ang="0">
                  <a:pos x="18" y="22"/>
                </a:cxn>
              </a:cxnLst>
              <a:rect l="0" t="0" r="r" b="b"/>
              <a:pathLst>
                <a:path w="202" h="51">
                  <a:moveTo>
                    <a:pt x="18" y="22"/>
                  </a:moveTo>
                  <a:lnTo>
                    <a:pt x="18" y="22"/>
                  </a:lnTo>
                  <a:lnTo>
                    <a:pt x="0" y="51"/>
                  </a:lnTo>
                  <a:lnTo>
                    <a:pt x="202" y="51"/>
                  </a:lnTo>
                  <a:lnTo>
                    <a:pt x="20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6" y="11"/>
                  </a:lnTo>
                  <a:lnTo>
                    <a:pt x="18" y="22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00" name="Oval 99">
            <a:extLst>
              <a:ext uri="{FF2B5EF4-FFF2-40B4-BE49-F238E27FC236}">
                <a16:creationId xmlns:a16="http://schemas.microsoft.com/office/drawing/2014/main" id="{83579612-CAA8-454E-9D5F-A4A05E6A5627}"/>
              </a:ext>
            </a:extLst>
          </p:cNvPr>
          <p:cNvSpPr/>
          <p:nvPr/>
        </p:nvSpPr>
        <p:spPr>
          <a:xfrm>
            <a:off x="11035119" y="1074540"/>
            <a:ext cx="640177" cy="640177"/>
          </a:xfrm>
          <a:prstGeom prst="ellipse">
            <a:avLst/>
          </a:prstGeom>
          <a:solidFill>
            <a:srgbClr val="7213E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1CB3F50-89AE-4492-BDE6-172E1FC21260}"/>
              </a:ext>
            </a:extLst>
          </p:cNvPr>
          <p:cNvGrpSpPr/>
          <p:nvPr/>
        </p:nvGrpSpPr>
        <p:grpSpPr>
          <a:xfrm>
            <a:off x="11199814" y="1209800"/>
            <a:ext cx="347472" cy="338328"/>
            <a:chOff x="3767138" y="1258888"/>
            <a:chExt cx="533400" cy="558800"/>
          </a:xfrm>
          <a:solidFill>
            <a:schemeClr val="bg1"/>
          </a:solidFill>
        </p:grpSpPr>
        <p:sp>
          <p:nvSpPr>
            <p:cNvPr id="102" name="Freeform 78">
              <a:extLst>
                <a:ext uri="{FF2B5EF4-FFF2-40B4-BE49-F238E27FC236}">
                  <a16:creationId xmlns:a16="http://schemas.microsoft.com/office/drawing/2014/main" id="{5E27B8FE-A5F0-4216-8335-E78941EDF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1258888"/>
              <a:ext cx="457200" cy="558800"/>
            </a:xfrm>
            <a:custGeom>
              <a:avLst/>
              <a:gdLst/>
              <a:ahLst/>
              <a:cxnLst>
                <a:cxn ang="0">
                  <a:pos x="256" y="256"/>
                </a:cxn>
                <a:cxn ang="0">
                  <a:pos x="192" y="256"/>
                </a:cxn>
                <a:cxn ang="0">
                  <a:pos x="192" y="320"/>
                </a:cxn>
                <a:cxn ang="0">
                  <a:pos x="32" y="320"/>
                </a:cxn>
                <a:cxn ang="0">
                  <a:pos x="32" y="32"/>
                </a:cxn>
                <a:cxn ang="0">
                  <a:pos x="232" y="32"/>
                </a:cxn>
                <a:cxn ang="0">
                  <a:pos x="264" y="0"/>
                </a:cxn>
                <a:cxn ang="0">
                  <a:pos x="0" y="0"/>
                </a:cxn>
                <a:cxn ang="0">
                  <a:pos x="0" y="352"/>
                </a:cxn>
                <a:cxn ang="0">
                  <a:pos x="208" y="352"/>
                </a:cxn>
                <a:cxn ang="0">
                  <a:pos x="288" y="272"/>
                </a:cxn>
                <a:cxn ang="0">
                  <a:pos x="288" y="152"/>
                </a:cxn>
                <a:cxn ang="0">
                  <a:pos x="256" y="184"/>
                </a:cxn>
                <a:cxn ang="0">
                  <a:pos x="256" y="256"/>
                </a:cxn>
              </a:cxnLst>
              <a:rect l="0" t="0" r="r" b="b"/>
              <a:pathLst>
                <a:path w="288" h="352">
                  <a:moveTo>
                    <a:pt x="256" y="256"/>
                  </a:moveTo>
                  <a:lnTo>
                    <a:pt x="192" y="256"/>
                  </a:lnTo>
                  <a:lnTo>
                    <a:pt x="192" y="320"/>
                  </a:lnTo>
                  <a:lnTo>
                    <a:pt x="32" y="320"/>
                  </a:lnTo>
                  <a:lnTo>
                    <a:pt x="32" y="32"/>
                  </a:lnTo>
                  <a:lnTo>
                    <a:pt x="232" y="32"/>
                  </a:lnTo>
                  <a:lnTo>
                    <a:pt x="264" y="0"/>
                  </a:lnTo>
                  <a:lnTo>
                    <a:pt x="0" y="0"/>
                  </a:lnTo>
                  <a:lnTo>
                    <a:pt x="0" y="352"/>
                  </a:lnTo>
                  <a:lnTo>
                    <a:pt x="208" y="352"/>
                  </a:lnTo>
                  <a:lnTo>
                    <a:pt x="288" y="272"/>
                  </a:lnTo>
                  <a:lnTo>
                    <a:pt x="288" y="152"/>
                  </a:lnTo>
                  <a:lnTo>
                    <a:pt x="256" y="184"/>
                  </a:lnTo>
                  <a:lnTo>
                    <a:pt x="256" y="2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79">
              <a:extLst>
                <a:ext uri="{FF2B5EF4-FFF2-40B4-BE49-F238E27FC236}">
                  <a16:creationId xmlns:a16="http://schemas.microsoft.com/office/drawing/2014/main" id="{AB17E6CE-0FD5-401F-8A5D-1B362F1E5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1284288"/>
              <a:ext cx="101600" cy="101600"/>
            </a:xfrm>
            <a:custGeom>
              <a:avLst/>
              <a:gdLst/>
              <a:ahLst/>
              <a:cxnLst>
                <a:cxn ang="0">
                  <a:pos x="60" y="26"/>
                </a:cxn>
                <a:cxn ang="0">
                  <a:pos x="38" y="4"/>
                </a:cxn>
                <a:cxn ang="0">
                  <a:pos x="38" y="4"/>
                </a:cxn>
                <a:cxn ang="0">
                  <a:pos x="32" y="2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2" y="2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0" y="20"/>
                </a:cxn>
                <a:cxn ang="0">
                  <a:pos x="44" y="64"/>
                </a:cxn>
                <a:cxn ang="0">
                  <a:pos x="60" y="48"/>
                </a:cxn>
                <a:cxn ang="0">
                  <a:pos x="60" y="48"/>
                </a:cxn>
                <a:cxn ang="0">
                  <a:pos x="60" y="48"/>
                </a:cxn>
                <a:cxn ang="0">
                  <a:pos x="62" y="42"/>
                </a:cxn>
                <a:cxn ang="0">
                  <a:pos x="64" y="38"/>
                </a:cxn>
                <a:cxn ang="0">
                  <a:pos x="64" y="38"/>
                </a:cxn>
                <a:cxn ang="0">
                  <a:pos x="62" y="32"/>
                </a:cxn>
                <a:cxn ang="0">
                  <a:pos x="60" y="26"/>
                </a:cxn>
                <a:cxn ang="0">
                  <a:pos x="60" y="26"/>
                </a:cxn>
              </a:cxnLst>
              <a:rect l="0" t="0" r="r" b="b"/>
              <a:pathLst>
                <a:path w="64" h="64">
                  <a:moveTo>
                    <a:pt x="60" y="26"/>
                  </a:moveTo>
                  <a:lnTo>
                    <a:pt x="38" y="4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0" y="20"/>
                  </a:lnTo>
                  <a:lnTo>
                    <a:pt x="44" y="6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2" y="42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2" y="32"/>
                  </a:lnTo>
                  <a:lnTo>
                    <a:pt x="60" y="26"/>
                  </a:lnTo>
                  <a:lnTo>
                    <a:pt x="60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80">
              <a:extLst>
                <a:ext uri="{FF2B5EF4-FFF2-40B4-BE49-F238E27FC236}">
                  <a16:creationId xmlns:a16="http://schemas.microsoft.com/office/drawing/2014/main" id="{8B856D9D-C2DF-48B6-BAA1-BF5DFF4B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538" y="1589088"/>
              <a:ext cx="76200" cy="76200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8" y="44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8"/>
                </a:cxn>
                <a:cxn ang="0">
                  <a:pos x="44" y="48"/>
                </a:cxn>
              </a:cxnLst>
              <a:rect l="0" t="0" r="r" b="b"/>
              <a:pathLst>
                <a:path w="48" h="48">
                  <a:moveTo>
                    <a:pt x="44" y="48"/>
                  </a:moveTo>
                  <a:lnTo>
                    <a:pt x="48" y="4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8"/>
                  </a:lnTo>
                  <a:lnTo>
                    <a:pt x="44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81">
              <a:extLst>
                <a:ext uri="{FF2B5EF4-FFF2-40B4-BE49-F238E27FC236}">
                  <a16:creationId xmlns:a16="http://schemas.microsoft.com/office/drawing/2014/main" id="{71BBA0DC-77EB-445F-AF48-E89BF6994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1335088"/>
              <a:ext cx="304800" cy="304800"/>
            </a:xfrm>
            <a:custGeom>
              <a:avLst/>
              <a:gdLst/>
              <a:ahLst/>
              <a:cxnLst>
                <a:cxn ang="0">
                  <a:pos x="0" y="148"/>
                </a:cxn>
                <a:cxn ang="0">
                  <a:pos x="44" y="192"/>
                </a:cxn>
                <a:cxn ang="0">
                  <a:pos x="192" y="44"/>
                </a:cxn>
                <a:cxn ang="0">
                  <a:pos x="148" y="0"/>
                </a:cxn>
                <a:cxn ang="0">
                  <a:pos x="0" y="148"/>
                </a:cxn>
              </a:cxnLst>
              <a:rect l="0" t="0" r="r" b="b"/>
              <a:pathLst>
                <a:path w="192" h="192">
                  <a:moveTo>
                    <a:pt x="0" y="148"/>
                  </a:moveTo>
                  <a:lnTo>
                    <a:pt x="44" y="192"/>
                  </a:lnTo>
                  <a:lnTo>
                    <a:pt x="192" y="44"/>
                  </a:lnTo>
                  <a:lnTo>
                    <a:pt x="148" y="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876938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57544-C333-4604-857B-1F79CE667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Problem Overview &amp; Solution Approach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79D09BD-76EC-4408-A155-6CBBC5111957}"/>
              </a:ext>
            </a:extLst>
          </p:cNvPr>
          <p:cNvGrpSpPr/>
          <p:nvPr/>
        </p:nvGrpSpPr>
        <p:grpSpPr>
          <a:xfrm>
            <a:off x="992186" y="1469926"/>
            <a:ext cx="2560320" cy="4309032"/>
            <a:chOff x="212675" y="1446812"/>
            <a:chExt cx="2057400" cy="4309032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17E4856-D349-406C-94D2-F073BFDA9C1A}"/>
                </a:ext>
              </a:extLst>
            </p:cNvPr>
            <p:cNvSpPr txBox="1"/>
            <p:nvPr/>
          </p:nvSpPr>
          <p:spPr>
            <a:xfrm>
              <a:off x="212675" y="1446812"/>
              <a:ext cx="2057400" cy="43090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180000" tIns="27432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01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Problem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uggling to price used cars given a list of featur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ed to determine the key variables that predict the price of a used ca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can we use this to our advantage?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FA8E52D5-EC8C-413A-9C6F-96462A344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485798" y="1517696"/>
              <a:ext cx="661736" cy="661736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76E0F7A-4E60-4EEB-89B8-0335DC9030F1}"/>
              </a:ext>
            </a:extLst>
          </p:cNvPr>
          <p:cNvGrpSpPr/>
          <p:nvPr/>
        </p:nvGrpSpPr>
        <p:grpSpPr>
          <a:xfrm>
            <a:off x="8639494" y="1471046"/>
            <a:ext cx="2560320" cy="4309032"/>
            <a:chOff x="4985255" y="1446812"/>
            <a:chExt cx="2057400" cy="43090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32317F7-FC5D-4EF5-9315-B316F2DCD73C}"/>
                </a:ext>
              </a:extLst>
            </p:cNvPr>
            <p:cNvSpPr txBox="1"/>
            <p:nvPr/>
          </p:nvSpPr>
          <p:spPr>
            <a:xfrm>
              <a:off x="4985255" y="1446812"/>
              <a:ext cx="2057400" cy="4309032"/>
            </a:xfrm>
            <a:prstGeom prst="rect">
              <a:avLst/>
            </a:prstGeom>
            <a:solidFill>
              <a:srgbClr val="7213EA"/>
            </a:solidFill>
          </p:spPr>
          <p:txBody>
            <a:bodyPr wrap="square" lIns="180000" tIns="27432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03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thodolog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Use of linear regression, ridge regression, decision trees, and random forest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Leverage R squared and Root Mean Squared of Error to determine predictive performanc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Hypertuned parameters to further our research and yield more enticing results</a:t>
              </a:r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3C7586FF-DB68-4454-9795-039F5245B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6316594" y="1600456"/>
              <a:ext cx="537569" cy="496217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045B5C1-094B-484B-A15B-A4A61B37A733}"/>
              </a:ext>
            </a:extLst>
          </p:cNvPr>
          <p:cNvGrpSpPr/>
          <p:nvPr/>
        </p:nvGrpSpPr>
        <p:grpSpPr>
          <a:xfrm>
            <a:off x="4899945" y="1471046"/>
            <a:ext cx="2560320" cy="4309032"/>
            <a:chOff x="2598965" y="1446813"/>
            <a:chExt cx="2057400" cy="430903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924F9E-50A3-49EA-B375-0A50CBAA06F0}"/>
                </a:ext>
              </a:extLst>
            </p:cNvPr>
            <p:cNvSpPr txBox="1"/>
            <p:nvPr/>
          </p:nvSpPr>
          <p:spPr>
            <a:xfrm>
              <a:off x="2598965" y="1446813"/>
              <a:ext cx="2057400" cy="430903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80000" tIns="27432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02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roa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Obtain a dataset regarding used cars, its features, and its selling pri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Perform exploratory analysis to determine which features correlate well with selling pric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Split data into training and testing dat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>
                <a:lnSpc>
                  <a:spcPct val="110000"/>
                </a:lnSpc>
                <a:spcAft>
                  <a:spcPts val="300"/>
                </a:spcAft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form different forms of regression &amp; determine which one is the best fit</a:t>
              </a: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lang="en-GB" sz="1200" dirty="0">
                <a:solidFill>
                  <a:srgbClr val="FFFFFF"/>
                </a:solidFill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1F20809-7401-493F-BC3A-C1AC11CA80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00401" y="1495742"/>
              <a:ext cx="705644" cy="70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0996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80C9C-42F9-4A41-993B-685D89BF4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-Processing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CCA517-3304-4361-BD72-3D4953E667B2}"/>
              </a:ext>
            </a:extLst>
          </p:cNvPr>
          <p:cNvSpPr txBox="1"/>
          <p:nvPr/>
        </p:nvSpPr>
        <p:spPr>
          <a:xfrm>
            <a:off x="995364" y="1024467"/>
            <a:ext cx="10045169" cy="533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We want to clean the data so that it is ready for regression without any issues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1738F8-E1C0-47A9-BA43-1ACBFB615E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055526"/>
              </p:ext>
            </p:extLst>
          </p:nvPr>
        </p:nvGraphicFramePr>
        <p:xfrm>
          <a:off x="995364" y="1354667"/>
          <a:ext cx="10850632" cy="47661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603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737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165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511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-processing Ste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Why it was need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moved Unnecessit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ropped the Serial Number column, and removed a row with data that is clearly fal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make the data clean and reliab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614407"/>
                  </a:ext>
                </a:extLst>
              </a:tr>
              <a:tr h="73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ed Brand colum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laced the Name column with Brand, which is just the brand of the name colum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cause there are too many unique values using the Name column. We are now able to group using just the 33 brands we have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461023"/>
                  </a:ext>
                </a:extLst>
              </a:tr>
              <a:tr h="73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ature Enginee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leage, engine, power, and seats all had some null values so we replaced them with the median of each, grouped by Brand</a:t>
                      </a:r>
                    </a:p>
                    <a:p>
                      <a:pPr marL="0" algn="ctr" defTabSz="914400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 will not read with null values. Replacing with the median is a safe bet.</a:t>
                      </a:r>
                    </a:p>
                    <a:p>
                      <a:pPr marL="0" algn="ctr" defTabSz="914400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371057"/>
                  </a:ext>
                </a:extLst>
              </a:tr>
              <a:tr h="6349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ature Enginee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leage had 0 for some data, so we replaced them with the median of each, grouped by Br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t does not make sense for a car’s mileage to be 0, so it must have meant to be null. In that case, we must do feature enginee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49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ummy Variabl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ing dummy variables for the categorical features, such as Brand and Fuel Type. Created columns with 1’s and 0’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tegorical features would not be accounted for in regression techniques if they are not in numerical form. Dummy variables helps solve this iss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1474"/>
                  </a:ext>
                </a:extLst>
              </a:tr>
              <a:tr h="6349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ropping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rop any rows where the price is not known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out knowing the price, the training data cannot accomplish anything as that is the dependent variab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7201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4584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AEEF6-D348-4B23-A72B-66E51AAB9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Analysis Results - Numeric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004C76-C25A-4082-921B-441274BA2E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447" y="1145542"/>
            <a:ext cx="6351367" cy="47819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9486B7-7D16-410F-809A-2419FA983BBD}"/>
              </a:ext>
            </a:extLst>
          </p:cNvPr>
          <p:cNvSpPr txBox="1"/>
          <p:nvPr/>
        </p:nvSpPr>
        <p:spPr>
          <a:xfrm>
            <a:off x="992186" y="857518"/>
            <a:ext cx="3747980" cy="4653004"/>
          </a:xfrm>
          <a:prstGeom prst="rect">
            <a:avLst/>
          </a:prstGeom>
          <a:noFill/>
        </p:spPr>
        <p:txBody>
          <a:bodyPr wrap="square" lIns="180000" tIns="274320" rIns="180000" bIns="18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tx2"/>
                </a:solidFill>
                <a:latin typeface="Arial"/>
              </a:rPr>
              <a:t>Observ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Power (0.79), engine (0.69), and new price (0.9) have a strong correlation with Price</a:t>
            </a:r>
          </a:p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GB" sz="14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Mileage (-0.33), KM Driven (-0.21), and seats (0.14) have a weak correlation with Price</a:t>
            </a:r>
          </a:p>
          <a:p>
            <a:pPr marR="0" lvl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GB" sz="14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Note: Leveraged the use of logs to normalize the values acros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2419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AEEF6-D348-4B23-A72B-66E51AAB9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Analysis Results - Categoric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CB009C-61C7-43DA-BDBE-37BC8B9EF6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543" y="3227757"/>
            <a:ext cx="5889200" cy="292454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B50C54-0803-497E-A96C-CCE1D502BB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6794" y="1485530"/>
            <a:ext cx="4375924" cy="2286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263DB0D-E5A6-4457-AB98-E20D2707C1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6794" y="3946971"/>
            <a:ext cx="4375924" cy="2286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3D9ADF2-61DC-4F24-B54D-AB3168585E4A}"/>
              </a:ext>
            </a:extLst>
          </p:cNvPr>
          <p:cNvSpPr txBox="1"/>
          <p:nvPr/>
        </p:nvSpPr>
        <p:spPr>
          <a:xfrm>
            <a:off x="995363" y="1049867"/>
            <a:ext cx="5810379" cy="2065865"/>
          </a:xfrm>
          <a:prstGeom prst="rect">
            <a:avLst/>
          </a:prstGeom>
          <a:noFill/>
        </p:spPr>
        <p:txBody>
          <a:bodyPr wrap="square" lIns="180000" tIns="274320" rIns="180000" bIns="180000" rtlCol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Automatic cars have a higher median price than manu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enerally</a:t>
            </a:r>
            <a:r>
              <a: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ars owned by less people have higher median pr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Diesel cars have a higher median pri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Location has slight differences in median price </a:t>
            </a:r>
          </a:p>
          <a:p>
            <a:pPr marL="171450" indent="-1714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ifferential pricing among various car brands and locations </a:t>
            </a:r>
            <a:endParaRPr lang="en-GB" sz="1400" dirty="0">
              <a:solidFill>
                <a:schemeClr val="tx2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tx2"/>
                </a:solidFill>
                <a:latin typeface="Arial"/>
              </a:rPr>
              <a:t>These factors could be compounded with other features as well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400" dirty="0">
              <a:solidFill>
                <a:schemeClr val="tx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4510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22990D6-AB95-4558-945E-D91F9FAAB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Regression - Insight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D36B1B48-7876-4B62-B956-EB5990F00EC4}"/>
              </a:ext>
            </a:extLst>
          </p:cNvPr>
          <p:cNvSpPr txBox="1">
            <a:spLocks/>
          </p:cNvSpPr>
          <p:nvPr/>
        </p:nvSpPr>
        <p:spPr>
          <a:xfrm>
            <a:off x="1107232" y="1197486"/>
            <a:ext cx="6089152" cy="391143"/>
          </a:xfrm>
          <a:prstGeom prst="rect">
            <a:avLst/>
          </a:prstGeom>
          <a:solidFill>
            <a:srgbClr val="7213EA"/>
          </a:solidFill>
          <a:ln>
            <a:solidFill>
              <a:srgbClr val="483698"/>
            </a:solidFill>
          </a:ln>
        </p:spPr>
        <p:txBody>
          <a:bodyPr vert="horz" lIns="45720" tIns="45720" rIns="4572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800" dirty="0">
                <a:solidFill>
                  <a:schemeClr val="bg1"/>
                </a:solidFill>
              </a:rPr>
              <a:t>Important Variabl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C0D02E6-8374-47F4-ADFC-63F34354CD6B}"/>
              </a:ext>
            </a:extLst>
          </p:cNvPr>
          <p:cNvSpPr/>
          <p:nvPr/>
        </p:nvSpPr>
        <p:spPr>
          <a:xfrm flipH="1">
            <a:off x="7524316" y="1251263"/>
            <a:ext cx="49513" cy="4333181"/>
          </a:xfrm>
          <a:prstGeom prst="rect">
            <a:avLst/>
          </a:prstGeom>
          <a:solidFill>
            <a:srgbClr val="00338D"/>
          </a:solidFill>
          <a:ln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DE95658F-4D93-4E70-8A35-E9F191558732}"/>
              </a:ext>
            </a:extLst>
          </p:cNvPr>
          <p:cNvSpPr txBox="1">
            <a:spLocks/>
          </p:cNvSpPr>
          <p:nvPr/>
        </p:nvSpPr>
        <p:spPr>
          <a:xfrm>
            <a:off x="7949191" y="1216670"/>
            <a:ext cx="3291989" cy="372778"/>
          </a:xfrm>
          <a:prstGeom prst="rect">
            <a:avLst/>
          </a:prstGeom>
          <a:solidFill>
            <a:srgbClr val="7213EA"/>
          </a:solidFill>
          <a:ln>
            <a:solidFill>
              <a:srgbClr val="0091DA"/>
            </a:solidFill>
          </a:ln>
        </p:spPr>
        <p:txBody>
          <a:bodyPr vert="horz" lIns="45720" tIns="45720" rIns="4572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800" dirty="0">
                <a:solidFill>
                  <a:schemeClr val="bg1"/>
                </a:solidFill>
              </a:rPr>
              <a:t>Refined Insigh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9C93C43-63F9-4AC8-8460-A58CF88C3C33}"/>
              </a:ext>
            </a:extLst>
          </p:cNvPr>
          <p:cNvSpPr/>
          <p:nvPr/>
        </p:nvSpPr>
        <p:spPr>
          <a:xfrm>
            <a:off x="627888" y="5843982"/>
            <a:ext cx="10936224" cy="325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spAutoFit/>
          </a:bodyPr>
          <a:lstStyle/>
          <a:p>
            <a:pPr algn="ctr">
              <a:spcAft>
                <a:spcPts val="300"/>
              </a:spcAft>
            </a:pPr>
            <a:endParaRPr lang="en-US" sz="1400" b="1" i="1" dirty="0">
              <a:solidFill>
                <a:schemeClr val="bg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DFA99E2-DAEA-456E-AA4D-5D87A59D0130}"/>
              </a:ext>
            </a:extLst>
          </p:cNvPr>
          <p:cNvSpPr txBox="1"/>
          <p:nvPr/>
        </p:nvSpPr>
        <p:spPr>
          <a:xfrm>
            <a:off x="7949190" y="1596805"/>
            <a:ext cx="3598095" cy="4044525"/>
          </a:xfrm>
          <a:prstGeom prst="rect">
            <a:avLst/>
          </a:prstGeom>
          <a:solidFill>
            <a:srgbClr val="E5E5E5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tabLst/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pPr marL="171450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Year has a higher importance than initially thought</a:t>
            </a:r>
          </a:p>
          <a:p>
            <a:pPr marL="628650" lvl="1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Newer cars are priced higher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tabLst/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a key importance to Price, but its P-value was very high using linear regression</a:t>
            </a:r>
          </a:p>
          <a:p>
            <a:pPr marL="628650" lvl="1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Sign of multicollinearity</a:t>
            </a:r>
          </a:p>
          <a:p>
            <a:pPr marL="628650" lvl="1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pPr marL="171450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Able to drop many features during Linear regression</a:t>
            </a:r>
          </a:p>
          <a:p>
            <a:pPr marL="628650" lvl="1" indent="-171450">
              <a:spcBef>
                <a:spcPts val="600"/>
              </a:spcBef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Dropped seats and some brands</a:t>
            </a:r>
          </a:p>
          <a:p>
            <a:pPr lvl="1">
              <a:spcBef>
                <a:spcPts val="600"/>
              </a:spcBef>
              <a:buClr>
                <a:srgbClr val="97989A"/>
              </a:buClr>
              <a:buSzPct val="100000"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lang="en-US" sz="1100" b="1" dirty="0">
              <a:solidFill>
                <a:srgbClr val="000000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Pct val="100000"/>
              <a:buFont typeface="Arial" panose="020B0604020202020204" pitchFamily="34" charset="0"/>
              <a:buChar char="■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5D11723-F82B-4B8B-AB65-DAC9EE348227}"/>
              </a:ext>
            </a:extLst>
          </p:cNvPr>
          <p:cNvSpPr/>
          <p:nvPr/>
        </p:nvSpPr>
        <p:spPr>
          <a:xfrm>
            <a:off x="747307" y="1101206"/>
            <a:ext cx="640177" cy="640177"/>
          </a:xfrm>
          <a:prstGeom prst="ellipse">
            <a:avLst/>
          </a:prstGeom>
          <a:solidFill>
            <a:srgbClr val="7213E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B2DF28F-3881-4E68-B183-8D0FEC481023}"/>
              </a:ext>
            </a:extLst>
          </p:cNvPr>
          <p:cNvGrpSpPr/>
          <p:nvPr/>
        </p:nvGrpSpPr>
        <p:grpSpPr>
          <a:xfrm>
            <a:off x="879610" y="1251263"/>
            <a:ext cx="344735" cy="337367"/>
            <a:chOff x="8026400" y="2486025"/>
            <a:chExt cx="1485900" cy="1463676"/>
          </a:xfrm>
          <a:solidFill>
            <a:schemeClr val="bg1"/>
          </a:solidFill>
        </p:grpSpPr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D1768698-4C84-4FBF-A6DE-EB44768AE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6400" y="3697288"/>
              <a:ext cx="420688" cy="25241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245" y="159"/>
                </a:cxn>
                <a:cxn ang="0">
                  <a:pos x="265" y="120"/>
                </a:cxn>
                <a:cxn ang="0">
                  <a:pos x="19" y="0"/>
                </a:cxn>
                <a:cxn ang="0">
                  <a:pos x="0" y="88"/>
                </a:cxn>
              </a:cxnLst>
              <a:rect l="0" t="0" r="r" b="b"/>
              <a:pathLst>
                <a:path w="265" h="159">
                  <a:moveTo>
                    <a:pt x="0" y="88"/>
                  </a:moveTo>
                  <a:lnTo>
                    <a:pt x="245" y="159"/>
                  </a:lnTo>
                  <a:lnTo>
                    <a:pt x="265" y="120"/>
                  </a:lnTo>
                  <a:lnTo>
                    <a:pt x="19" y="0"/>
                  </a:lnTo>
                  <a:lnTo>
                    <a:pt x="0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Rectangle 39">
              <a:extLst>
                <a:ext uri="{FF2B5EF4-FFF2-40B4-BE49-F238E27FC236}">
                  <a16:creationId xmlns:a16="http://schemas.microsoft.com/office/drawing/2014/main" id="{646FE76B-DFAD-4298-92EE-54CF9FD37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3950" y="2959100"/>
              <a:ext cx="619125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Rectangle 40">
              <a:extLst>
                <a:ext uri="{FF2B5EF4-FFF2-40B4-BE49-F238E27FC236}">
                  <a16:creationId xmlns:a16="http://schemas.microsoft.com/office/drawing/2014/main" id="{64D4B0D0-6A92-4E0D-A19E-0460A5212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3950" y="2770188"/>
              <a:ext cx="271463" cy="825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8F693038-96F7-492B-B912-6D6CD48ED1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8950" y="2486025"/>
              <a:ext cx="1403350" cy="1339850"/>
            </a:xfrm>
            <a:custGeom>
              <a:avLst/>
              <a:gdLst/>
              <a:ahLst/>
              <a:cxnLst>
                <a:cxn ang="0">
                  <a:pos x="735" y="61"/>
                </a:cxn>
                <a:cxn ang="0">
                  <a:pos x="691" y="24"/>
                </a:cxn>
                <a:cxn ang="0">
                  <a:pos x="638" y="4"/>
                </a:cxn>
                <a:cxn ang="0">
                  <a:pos x="300" y="0"/>
                </a:cxn>
                <a:cxn ang="0">
                  <a:pos x="284" y="4"/>
                </a:cxn>
                <a:cxn ang="0">
                  <a:pos x="265" y="21"/>
                </a:cxn>
                <a:cxn ang="0">
                  <a:pos x="258" y="47"/>
                </a:cxn>
                <a:cxn ang="0">
                  <a:pos x="207" y="418"/>
                </a:cxn>
                <a:cxn ang="0">
                  <a:pos x="102" y="475"/>
                </a:cxn>
                <a:cxn ang="0">
                  <a:pos x="89" y="484"/>
                </a:cxn>
                <a:cxn ang="0">
                  <a:pos x="80" y="497"/>
                </a:cxn>
                <a:cxn ang="0">
                  <a:pos x="55" y="555"/>
                </a:cxn>
                <a:cxn ang="0">
                  <a:pos x="21" y="658"/>
                </a:cxn>
                <a:cxn ang="0">
                  <a:pos x="0" y="749"/>
                </a:cxn>
                <a:cxn ang="0">
                  <a:pos x="199" y="843"/>
                </a:cxn>
                <a:cxn ang="0">
                  <a:pos x="237" y="819"/>
                </a:cxn>
                <a:cxn ang="0">
                  <a:pos x="263" y="793"/>
                </a:cxn>
                <a:cxn ang="0">
                  <a:pos x="275" y="809"/>
                </a:cxn>
                <a:cxn ang="0">
                  <a:pos x="288" y="817"/>
                </a:cxn>
                <a:cxn ang="0">
                  <a:pos x="300" y="819"/>
                </a:cxn>
                <a:cxn ang="0">
                  <a:pos x="849" y="818"/>
                </a:cxn>
                <a:cxn ang="0">
                  <a:pos x="871" y="805"/>
                </a:cxn>
                <a:cxn ang="0">
                  <a:pos x="883" y="780"/>
                </a:cxn>
                <a:cxn ang="0">
                  <a:pos x="884" y="249"/>
                </a:cxn>
                <a:cxn ang="0">
                  <a:pos x="876" y="221"/>
                </a:cxn>
                <a:cxn ang="0">
                  <a:pos x="845" y="771"/>
                </a:cxn>
                <a:cxn ang="0">
                  <a:pos x="843" y="778"/>
                </a:cxn>
                <a:cxn ang="0">
                  <a:pos x="321" y="780"/>
                </a:cxn>
                <a:cxn ang="0">
                  <a:pos x="300" y="780"/>
                </a:cxn>
                <a:cxn ang="0">
                  <a:pos x="297" y="776"/>
                </a:cxn>
                <a:cxn ang="0">
                  <a:pos x="296" y="751"/>
                </a:cxn>
                <a:cxn ang="0">
                  <a:pos x="355" y="660"/>
                </a:cxn>
                <a:cxn ang="0">
                  <a:pos x="375" y="632"/>
                </a:cxn>
                <a:cxn ang="0">
                  <a:pos x="397" y="608"/>
                </a:cxn>
                <a:cxn ang="0">
                  <a:pos x="427" y="575"/>
                </a:cxn>
                <a:cxn ang="0">
                  <a:pos x="433" y="557"/>
                </a:cxn>
                <a:cxn ang="0">
                  <a:pos x="429" y="545"/>
                </a:cxn>
                <a:cxn ang="0">
                  <a:pos x="412" y="528"/>
                </a:cxn>
                <a:cxn ang="0">
                  <a:pos x="383" y="520"/>
                </a:cxn>
                <a:cxn ang="0">
                  <a:pos x="365" y="522"/>
                </a:cxn>
                <a:cxn ang="0">
                  <a:pos x="341" y="529"/>
                </a:cxn>
                <a:cxn ang="0">
                  <a:pos x="307" y="552"/>
                </a:cxn>
                <a:cxn ang="0">
                  <a:pos x="261" y="595"/>
                </a:cxn>
                <a:cxn ang="0">
                  <a:pos x="224" y="626"/>
                </a:cxn>
                <a:cxn ang="0">
                  <a:pos x="214" y="620"/>
                </a:cxn>
                <a:cxn ang="0">
                  <a:pos x="209" y="610"/>
                </a:cxn>
                <a:cxn ang="0">
                  <a:pos x="211" y="592"/>
                </a:cxn>
                <a:cxn ang="0">
                  <a:pos x="230" y="557"/>
                </a:cxn>
                <a:cxn ang="0">
                  <a:pos x="258" y="551"/>
                </a:cxn>
                <a:cxn ang="0">
                  <a:pos x="296" y="47"/>
                </a:cxn>
                <a:cxn ang="0">
                  <a:pos x="299" y="38"/>
                </a:cxn>
                <a:cxn ang="0">
                  <a:pos x="610" y="37"/>
                </a:cxn>
                <a:cxn ang="0">
                  <a:pos x="640" y="46"/>
                </a:cxn>
                <a:cxn ang="0">
                  <a:pos x="661" y="71"/>
                </a:cxn>
                <a:cxn ang="0">
                  <a:pos x="670" y="214"/>
                </a:cxn>
                <a:cxn ang="0">
                  <a:pos x="831" y="242"/>
                </a:cxn>
                <a:cxn ang="0">
                  <a:pos x="844" y="254"/>
                </a:cxn>
                <a:cxn ang="0">
                  <a:pos x="845" y="771"/>
                </a:cxn>
              </a:cxnLst>
              <a:rect l="0" t="0" r="r" b="b"/>
              <a:pathLst>
                <a:path w="884" h="844">
                  <a:moveTo>
                    <a:pt x="870" y="213"/>
                  </a:moveTo>
                  <a:lnTo>
                    <a:pt x="735" y="61"/>
                  </a:lnTo>
                  <a:lnTo>
                    <a:pt x="735" y="61"/>
                  </a:lnTo>
                  <a:lnTo>
                    <a:pt x="722" y="46"/>
                  </a:lnTo>
                  <a:lnTo>
                    <a:pt x="706" y="35"/>
                  </a:lnTo>
                  <a:lnTo>
                    <a:pt x="691" y="24"/>
                  </a:lnTo>
                  <a:lnTo>
                    <a:pt x="674" y="16"/>
                  </a:lnTo>
                  <a:lnTo>
                    <a:pt x="657" y="9"/>
                  </a:lnTo>
                  <a:lnTo>
                    <a:pt x="638" y="4"/>
                  </a:lnTo>
                  <a:lnTo>
                    <a:pt x="619" y="1"/>
                  </a:lnTo>
                  <a:lnTo>
                    <a:pt x="600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292" y="1"/>
                  </a:lnTo>
                  <a:lnTo>
                    <a:pt x="284" y="4"/>
                  </a:lnTo>
                  <a:lnTo>
                    <a:pt x="277" y="8"/>
                  </a:lnTo>
                  <a:lnTo>
                    <a:pt x="271" y="14"/>
                  </a:lnTo>
                  <a:lnTo>
                    <a:pt x="265" y="21"/>
                  </a:lnTo>
                  <a:lnTo>
                    <a:pt x="261" y="29"/>
                  </a:lnTo>
                  <a:lnTo>
                    <a:pt x="258" y="38"/>
                  </a:lnTo>
                  <a:lnTo>
                    <a:pt x="258" y="47"/>
                  </a:lnTo>
                  <a:lnTo>
                    <a:pt x="258" y="392"/>
                  </a:lnTo>
                  <a:lnTo>
                    <a:pt x="258" y="392"/>
                  </a:lnTo>
                  <a:lnTo>
                    <a:pt x="207" y="418"/>
                  </a:lnTo>
                  <a:lnTo>
                    <a:pt x="158" y="445"/>
                  </a:lnTo>
                  <a:lnTo>
                    <a:pt x="158" y="445"/>
                  </a:lnTo>
                  <a:lnTo>
                    <a:pt x="102" y="475"/>
                  </a:lnTo>
                  <a:lnTo>
                    <a:pt x="102" y="475"/>
                  </a:lnTo>
                  <a:lnTo>
                    <a:pt x="95" y="479"/>
                  </a:lnTo>
                  <a:lnTo>
                    <a:pt x="89" y="484"/>
                  </a:lnTo>
                  <a:lnTo>
                    <a:pt x="84" y="490"/>
                  </a:lnTo>
                  <a:lnTo>
                    <a:pt x="80" y="497"/>
                  </a:lnTo>
                  <a:lnTo>
                    <a:pt x="80" y="497"/>
                  </a:lnTo>
                  <a:lnTo>
                    <a:pt x="71" y="516"/>
                  </a:lnTo>
                  <a:lnTo>
                    <a:pt x="63" y="535"/>
                  </a:lnTo>
                  <a:lnTo>
                    <a:pt x="55" y="555"/>
                  </a:lnTo>
                  <a:lnTo>
                    <a:pt x="47" y="576"/>
                  </a:lnTo>
                  <a:lnTo>
                    <a:pt x="33" y="618"/>
                  </a:lnTo>
                  <a:lnTo>
                    <a:pt x="21" y="658"/>
                  </a:lnTo>
                  <a:lnTo>
                    <a:pt x="12" y="694"/>
                  </a:lnTo>
                  <a:lnTo>
                    <a:pt x="5" y="722"/>
                  </a:lnTo>
                  <a:lnTo>
                    <a:pt x="0" y="749"/>
                  </a:lnTo>
                  <a:lnTo>
                    <a:pt x="196" y="844"/>
                  </a:lnTo>
                  <a:lnTo>
                    <a:pt x="199" y="843"/>
                  </a:lnTo>
                  <a:lnTo>
                    <a:pt x="199" y="843"/>
                  </a:lnTo>
                  <a:lnTo>
                    <a:pt x="215" y="834"/>
                  </a:lnTo>
                  <a:lnTo>
                    <a:pt x="229" y="825"/>
                  </a:lnTo>
                  <a:lnTo>
                    <a:pt x="237" y="819"/>
                  </a:lnTo>
                  <a:lnTo>
                    <a:pt x="245" y="812"/>
                  </a:lnTo>
                  <a:lnTo>
                    <a:pt x="253" y="804"/>
                  </a:lnTo>
                  <a:lnTo>
                    <a:pt x="263" y="793"/>
                  </a:lnTo>
                  <a:lnTo>
                    <a:pt x="263" y="793"/>
                  </a:lnTo>
                  <a:lnTo>
                    <a:pt x="268" y="802"/>
                  </a:lnTo>
                  <a:lnTo>
                    <a:pt x="275" y="809"/>
                  </a:lnTo>
                  <a:lnTo>
                    <a:pt x="275" y="809"/>
                  </a:lnTo>
                  <a:lnTo>
                    <a:pt x="283" y="815"/>
                  </a:lnTo>
                  <a:lnTo>
                    <a:pt x="288" y="817"/>
                  </a:lnTo>
                  <a:lnTo>
                    <a:pt x="292" y="818"/>
                  </a:lnTo>
                  <a:lnTo>
                    <a:pt x="292" y="818"/>
                  </a:lnTo>
                  <a:lnTo>
                    <a:pt x="300" y="819"/>
                  </a:lnTo>
                  <a:lnTo>
                    <a:pt x="841" y="819"/>
                  </a:lnTo>
                  <a:lnTo>
                    <a:pt x="841" y="819"/>
                  </a:lnTo>
                  <a:lnTo>
                    <a:pt x="849" y="818"/>
                  </a:lnTo>
                  <a:lnTo>
                    <a:pt x="857" y="815"/>
                  </a:lnTo>
                  <a:lnTo>
                    <a:pt x="864" y="811"/>
                  </a:lnTo>
                  <a:lnTo>
                    <a:pt x="871" y="805"/>
                  </a:lnTo>
                  <a:lnTo>
                    <a:pt x="877" y="797"/>
                  </a:lnTo>
                  <a:lnTo>
                    <a:pt x="880" y="789"/>
                  </a:lnTo>
                  <a:lnTo>
                    <a:pt x="883" y="780"/>
                  </a:lnTo>
                  <a:lnTo>
                    <a:pt x="884" y="771"/>
                  </a:lnTo>
                  <a:lnTo>
                    <a:pt x="884" y="249"/>
                  </a:lnTo>
                  <a:lnTo>
                    <a:pt x="884" y="249"/>
                  </a:lnTo>
                  <a:lnTo>
                    <a:pt x="883" y="239"/>
                  </a:lnTo>
                  <a:lnTo>
                    <a:pt x="880" y="230"/>
                  </a:lnTo>
                  <a:lnTo>
                    <a:pt x="876" y="221"/>
                  </a:lnTo>
                  <a:lnTo>
                    <a:pt x="870" y="213"/>
                  </a:lnTo>
                  <a:lnTo>
                    <a:pt x="870" y="213"/>
                  </a:lnTo>
                  <a:close/>
                  <a:moveTo>
                    <a:pt x="845" y="771"/>
                  </a:moveTo>
                  <a:lnTo>
                    <a:pt x="845" y="771"/>
                  </a:lnTo>
                  <a:lnTo>
                    <a:pt x="845" y="775"/>
                  </a:lnTo>
                  <a:lnTo>
                    <a:pt x="843" y="778"/>
                  </a:lnTo>
                  <a:lnTo>
                    <a:pt x="842" y="780"/>
                  </a:lnTo>
                  <a:lnTo>
                    <a:pt x="841" y="780"/>
                  </a:lnTo>
                  <a:lnTo>
                    <a:pt x="321" y="780"/>
                  </a:lnTo>
                  <a:lnTo>
                    <a:pt x="321" y="780"/>
                  </a:lnTo>
                  <a:lnTo>
                    <a:pt x="302" y="781"/>
                  </a:lnTo>
                  <a:lnTo>
                    <a:pt x="300" y="780"/>
                  </a:lnTo>
                  <a:lnTo>
                    <a:pt x="299" y="779"/>
                  </a:lnTo>
                  <a:lnTo>
                    <a:pt x="299" y="779"/>
                  </a:lnTo>
                  <a:lnTo>
                    <a:pt x="297" y="776"/>
                  </a:lnTo>
                  <a:lnTo>
                    <a:pt x="296" y="771"/>
                  </a:lnTo>
                  <a:lnTo>
                    <a:pt x="296" y="751"/>
                  </a:lnTo>
                  <a:lnTo>
                    <a:pt x="296" y="751"/>
                  </a:lnTo>
                  <a:lnTo>
                    <a:pt x="311" y="729"/>
                  </a:lnTo>
                  <a:lnTo>
                    <a:pt x="326" y="705"/>
                  </a:lnTo>
                  <a:lnTo>
                    <a:pt x="355" y="660"/>
                  </a:lnTo>
                  <a:lnTo>
                    <a:pt x="355" y="660"/>
                  </a:lnTo>
                  <a:lnTo>
                    <a:pt x="365" y="645"/>
                  </a:lnTo>
                  <a:lnTo>
                    <a:pt x="375" y="632"/>
                  </a:lnTo>
                  <a:lnTo>
                    <a:pt x="387" y="619"/>
                  </a:lnTo>
                  <a:lnTo>
                    <a:pt x="397" y="608"/>
                  </a:lnTo>
                  <a:lnTo>
                    <a:pt x="397" y="608"/>
                  </a:lnTo>
                  <a:lnTo>
                    <a:pt x="411" y="594"/>
                  </a:lnTo>
                  <a:lnTo>
                    <a:pt x="423" y="581"/>
                  </a:lnTo>
                  <a:lnTo>
                    <a:pt x="427" y="575"/>
                  </a:lnTo>
                  <a:lnTo>
                    <a:pt x="430" y="568"/>
                  </a:lnTo>
                  <a:lnTo>
                    <a:pt x="432" y="562"/>
                  </a:lnTo>
                  <a:lnTo>
                    <a:pt x="433" y="557"/>
                  </a:lnTo>
                  <a:lnTo>
                    <a:pt x="433" y="557"/>
                  </a:lnTo>
                  <a:lnTo>
                    <a:pt x="432" y="551"/>
                  </a:lnTo>
                  <a:lnTo>
                    <a:pt x="429" y="545"/>
                  </a:lnTo>
                  <a:lnTo>
                    <a:pt x="425" y="539"/>
                  </a:lnTo>
                  <a:lnTo>
                    <a:pt x="420" y="533"/>
                  </a:lnTo>
                  <a:lnTo>
                    <a:pt x="412" y="528"/>
                  </a:lnTo>
                  <a:lnTo>
                    <a:pt x="404" y="524"/>
                  </a:lnTo>
                  <a:lnTo>
                    <a:pt x="394" y="521"/>
                  </a:lnTo>
                  <a:lnTo>
                    <a:pt x="383" y="520"/>
                  </a:lnTo>
                  <a:lnTo>
                    <a:pt x="383" y="520"/>
                  </a:lnTo>
                  <a:lnTo>
                    <a:pt x="374" y="521"/>
                  </a:lnTo>
                  <a:lnTo>
                    <a:pt x="365" y="522"/>
                  </a:lnTo>
                  <a:lnTo>
                    <a:pt x="357" y="524"/>
                  </a:lnTo>
                  <a:lnTo>
                    <a:pt x="349" y="526"/>
                  </a:lnTo>
                  <a:lnTo>
                    <a:pt x="341" y="529"/>
                  </a:lnTo>
                  <a:lnTo>
                    <a:pt x="334" y="532"/>
                  </a:lnTo>
                  <a:lnTo>
                    <a:pt x="320" y="541"/>
                  </a:lnTo>
                  <a:lnTo>
                    <a:pt x="307" y="552"/>
                  </a:lnTo>
                  <a:lnTo>
                    <a:pt x="293" y="565"/>
                  </a:lnTo>
                  <a:lnTo>
                    <a:pt x="261" y="595"/>
                  </a:lnTo>
                  <a:lnTo>
                    <a:pt x="261" y="595"/>
                  </a:lnTo>
                  <a:lnTo>
                    <a:pt x="249" y="606"/>
                  </a:lnTo>
                  <a:lnTo>
                    <a:pt x="238" y="615"/>
                  </a:lnTo>
                  <a:lnTo>
                    <a:pt x="224" y="626"/>
                  </a:lnTo>
                  <a:lnTo>
                    <a:pt x="224" y="626"/>
                  </a:lnTo>
                  <a:lnTo>
                    <a:pt x="219" y="624"/>
                  </a:lnTo>
                  <a:lnTo>
                    <a:pt x="214" y="620"/>
                  </a:lnTo>
                  <a:lnTo>
                    <a:pt x="211" y="616"/>
                  </a:lnTo>
                  <a:lnTo>
                    <a:pt x="209" y="610"/>
                  </a:lnTo>
                  <a:lnTo>
                    <a:pt x="209" y="610"/>
                  </a:lnTo>
                  <a:lnTo>
                    <a:pt x="208" y="606"/>
                  </a:lnTo>
                  <a:lnTo>
                    <a:pt x="208" y="601"/>
                  </a:lnTo>
                  <a:lnTo>
                    <a:pt x="211" y="592"/>
                  </a:lnTo>
                  <a:lnTo>
                    <a:pt x="215" y="581"/>
                  </a:lnTo>
                  <a:lnTo>
                    <a:pt x="222" y="569"/>
                  </a:lnTo>
                  <a:lnTo>
                    <a:pt x="230" y="557"/>
                  </a:lnTo>
                  <a:lnTo>
                    <a:pt x="239" y="545"/>
                  </a:lnTo>
                  <a:lnTo>
                    <a:pt x="258" y="520"/>
                  </a:lnTo>
                  <a:lnTo>
                    <a:pt x="258" y="551"/>
                  </a:lnTo>
                  <a:lnTo>
                    <a:pt x="296" y="505"/>
                  </a:lnTo>
                  <a:lnTo>
                    <a:pt x="296" y="47"/>
                  </a:lnTo>
                  <a:lnTo>
                    <a:pt x="296" y="47"/>
                  </a:lnTo>
                  <a:lnTo>
                    <a:pt x="296" y="43"/>
                  </a:lnTo>
                  <a:lnTo>
                    <a:pt x="298" y="40"/>
                  </a:lnTo>
                  <a:lnTo>
                    <a:pt x="299" y="38"/>
                  </a:lnTo>
                  <a:lnTo>
                    <a:pt x="300" y="37"/>
                  </a:lnTo>
                  <a:lnTo>
                    <a:pt x="610" y="37"/>
                  </a:lnTo>
                  <a:lnTo>
                    <a:pt x="610" y="37"/>
                  </a:lnTo>
                  <a:lnTo>
                    <a:pt x="621" y="39"/>
                  </a:lnTo>
                  <a:lnTo>
                    <a:pt x="631" y="42"/>
                  </a:lnTo>
                  <a:lnTo>
                    <a:pt x="640" y="46"/>
                  </a:lnTo>
                  <a:lnTo>
                    <a:pt x="649" y="54"/>
                  </a:lnTo>
                  <a:lnTo>
                    <a:pt x="656" y="62"/>
                  </a:lnTo>
                  <a:lnTo>
                    <a:pt x="661" y="71"/>
                  </a:lnTo>
                  <a:lnTo>
                    <a:pt x="665" y="81"/>
                  </a:lnTo>
                  <a:lnTo>
                    <a:pt x="666" y="91"/>
                  </a:lnTo>
                  <a:lnTo>
                    <a:pt x="670" y="214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31" y="242"/>
                  </a:lnTo>
                  <a:lnTo>
                    <a:pt x="834" y="243"/>
                  </a:lnTo>
                  <a:lnTo>
                    <a:pt x="839" y="248"/>
                  </a:lnTo>
                  <a:lnTo>
                    <a:pt x="844" y="254"/>
                  </a:lnTo>
                  <a:lnTo>
                    <a:pt x="845" y="258"/>
                  </a:lnTo>
                  <a:lnTo>
                    <a:pt x="845" y="261"/>
                  </a:lnTo>
                  <a:lnTo>
                    <a:pt x="845" y="7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AC73DF30-DC72-4C3A-94EA-3ADF34C43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3963" y="3336925"/>
              <a:ext cx="519113" cy="82550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327" y="52"/>
                </a:cxn>
                <a:cxn ang="0">
                  <a:pos x="327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6"/>
                </a:cxn>
                <a:cxn ang="0">
                  <a:pos x="6" y="12"/>
                </a:cxn>
                <a:cxn ang="0">
                  <a:pos x="7" y="18"/>
                </a:cxn>
                <a:cxn ang="0">
                  <a:pos x="7" y="24"/>
                </a:cxn>
                <a:cxn ang="0">
                  <a:pos x="6" y="31"/>
                </a:cxn>
                <a:cxn ang="0">
                  <a:pos x="5" y="37"/>
                </a:cxn>
                <a:cxn ang="0">
                  <a:pos x="3" y="45"/>
                </a:cxn>
                <a:cxn ang="0">
                  <a:pos x="0" y="52"/>
                </a:cxn>
                <a:cxn ang="0">
                  <a:pos x="0" y="52"/>
                </a:cxn>
              </a:cxnLst>
              <a:rect l="0" t="0" r="r" b="b"/>
              <a:pathLst>
                <a:path w="327" h="52">
                  <a:moveTo>
                    <a:pt x="0" y="52"/>
                  </a:moveTo>
                  <a:lnTo>
                    <a:pt x="327" y="52"/>
                  </a:lnTo>
                  <a:lnTo>
                    <a:pt x="32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6"/>
                  </a:lnTo>
                  <a:lnTo>
                    <a:pt x="6" y="12"/>
                  </a:lnTo>
                  <a:lnTo>
                    <a:pt x="7" y="18"/>
                  </a:lnTo>
                  <a:lnTo>
                    <a:pt x="7" y="24"/>
                  </a:lnTo>
                  <a:lnTo>
                    <a:pt x="6" y="31"/>
                  </a:lnTo>
                  <a:lnTo>
                    <a:pt x="5" y="37"/>
                  </a:lnTo>
                  <a:lnTo>
                    <a:pt x="3" y="45"/>
                  </a:lnTo>
                  <a:lnTo>
                    <a:pt x="0" y="52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Rectangle 43">
              <a:extLst>
                <a:ext uri="{FF2B5EF4-FFF2-40B4-BE49-F238E27FC236}">
                  <a16:creationId xmlns:a16="http://schemas.microsoft.com/office/drawing/2014/main" id="{EC4F36A7-D2FB-49F7-98E2-0F7B4C71F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6163" y="3149600"/>
              <a:ext cx="696913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9472A298-54D1-4527-85CB-A6853A1EF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4738" y="3529013"/>
              <a:ext cx="320675" cy="80963"/>
            </a:xfrm>
            <a:custGeom>
              <a:avLst/>
              <a:gdLst/>
              <a:ahLst/>
              <a:cxnLst>
                <a:cxn ang="0">
                  <a:pos x="18" y="22"/>
                </a:cxn>
                <a:cxn ang="0">
                  <a:pos x="18" y="22"/>
                </a:cxn>
                <a:cxn ang="0">
                  <a:pos x="0" y="51"/>
                </a:cxn>
                <a:cxn ang="0">
                  <a:pos x="202" y="51"/>
                </a:cxn>
                <a:cxn ang="0">
                  <a:pos x="202" y="0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26" y="11"/>
                </a:cxn>
                <a:cxn ang="0">
                  <a:pos x="18" y="22"/>
                </a:cxn>
                <a:cxn ang="0">
                  <a:pos x="18" y="22"/>
                </a:cxn>
              </a:cxnLst>
              <a:rect l="0" t="0" r="r" b="b"/>
              <a:pathLst>
                <a:path w="202" h="51">
                  <a:moveTo>
                    <a:pt x="18" y="22"/>
                  </a:moveTo>
                  <a:lnTo>
                    <a:pt x="18" y="22"/>
                  </a:lnTo>
                  <a:lnTo>
                    <a:pt x="0" y="51"/>
                  </a:lnTo>
                  <a:lnTo>
                    <a:pt x="202" y="51"/>
                  </a:lnTo>
                  <a:lnTo>
                    <a:pt x="20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6" y="11"/>
                  </a:lnTo>
                  <a:lnTo>
                    <a:pt x="18" y="22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00" name="Oval 99">
            <a:extLst>
              <a:ext uri="{FF2B5EF4-FFF2-40B4-BE49-F238E27FC236}">
                <a16:creationId xmlns:a16="http://schemas.microsoft.com/office/drawing/2014/main" id="{83579612-CAA8-454E-9D5F-A4A05E6A5627}"/>
              </a:ext>
            </a:extLst>
          </p:cNvPr>
          <p:cNvSpPr/>
          <p:nvPr/>
        </p:nvSpPr>
        <p:spPr>
          <a:xfrm>
            <a:off x="11035119" y="1074540"/>
            <a:ext cx="640177" cy="640177"/>
          </a:xfrm>
          <a:prstGeom prst="ellipse">
            <a:avLst/>
          </a:prstGeom>
          <a:solidFill>
            <a:srgbClr val="7213E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1CB3F50-89AE-4492-BDE6-172E1FC21260}"/>
              </a:ext>
            </a:extLst>
          </p:cNvPr>
          <p:cNvGrpSpPr/>
          <p:nvPr/>
        </p:nvGrpSpPr>
        <p:grpSpPr>
          <a:xfrm>
            <a:off x="11199814" y="1209800"/>
            <a:ext cx="347472" cy="338328"/>
            <a:chOff x="3767138" y="1258888"/>
            <a:chExt cx="533400" cy="558800"/>
          </a:xfrm>
          <a:solidFill>
            <a:schemeClr val="bg1"/>
          </a:solidFill>
        </p:grpSpPr>
        <p:sp>
          <p:nvSpPr>
            <p:cNvPr id="102" name="Freeform 78">
              <a:extLst>
                <a:ext uri="{FF2B5EF4-FFF2-40B4-BE49-F238E27FC236}">
                  <a16:creationId xmlns:a16="http://schemas.microsoft.com/office/drawing/2014/main" id="{5E27B8FE-A5F0-4216-8335-E78941EDF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1258888"/>
              <a:ext cx="457200" cy="558800"/>
            </a:xfrm>
            <a:custGeom>
              <a:avLst/>
              <a:gdLst/>
              <a:ahLst/>
              <a:cxnLst>
                <a:cxn ang="0">
                  <a:pos x="256" y="256"/>
                </a:cxn>
                <a:cxn ang="0">
                  <a:pos x="192" y="256"/>
                </a:cxn>
                <a:cxn ang="0">
                  <a:pos x="192" y="320"/>
                </a:cxn>
                <a:cxn ang="0">
                  <a:pos x="32" y="320"/>
                </a:cxn>
                <a:cxn ang="0">
                  <a:pos x="32" y="32"/>
                </a:cxn>
                <a:cxn ang="0">
                  <a:pos x="232" y="32"/>
                </a:cxn>
                <a:cxn ang="0">
                  <a:pos x="264" y="0"/>
                </a:cxn>
                <a:cxn ang="0">
                  <a:pos x="0" y="0"/>
                </a:cxn>
                <a:cxn ang="0">
                  <a:pos x="0" y="352"/>
                </a:cxn>
                <a:cxn ang="0">
                  <a:pos x="208" y="352"/>
                </a:cxn>
                <a:cxn ang="0">
                  <a:pos x="288" y="272"/>
                </a:cxn>
                <a:cxn ang="0">
                  <a:pos x="288" y="152"/>
                </a:cxn>
                <a:cxn ang="0">
                  <a:pos x="256" y="184"/>
                </a:cxn>
                <a:cxn ang="0">
                  <a:pos x="256" y="256"/>
                </a:cxn>
              </a:cxnLst>
              <a:rect l="0" t="0" r="r" b="b"/>
              <a:pathLst>
                <a:path w="288" h="352">
                  <a:moveTo>
                    <a:pt x="256" y="256"/>
                  </a:moveTo>
                  <a:lnTo>
                    <a:pt x="192" y="256"/>
                  </a:lnTo>
                  <a:lnTo>
                    <a:pt x="192" y="320"/>
                  </a:lnTo>
                  <a:lnTo>
                    <a:pt x="32" y="320"/>
                  </a:lnTo>
                  <a:lnTo>
                    <a:pt x="32" y="32"/>
                  </a:lnTo>
                  <a:lnTo>
                    <a:pt x="232" y="32"/>
                  </a:lnTo>
                  <a:lnTo>
                    <a:pt x="264" y="0"/>
                  </a:lnTo>
                  <a:lnTo>
                    <a:pt x="0" y="0"/>
                  </a:lnTo>
                  <a:lnTo>
                    <a:pt x="0" y="352"/>
                  </a:lnTo>
                  <a:lnTo>
                    <a:pt x="208" y="352"/>
                  </a:lnTo>
                  <a:lnTo>
                    <a:pt x="288" y="272"/>
                  </a:lnTo>
                  <a:lnTo>
                    <a:pt x="288" y="152"/>
                  </a:lnTo>
                  <a:lnTo>
                    <a:pt x="256" y="184"/>
                  </a:lnTo>
                  <a:lnTo>
                    <a:pt x="256" y="2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79">
              <a:extLst>
                <a:ext uri="{FF2B5EF4-FFF2-40B4-BE49-F238E27FC236}">
                  <a16:creationId xmlns:a16="http://schemas.microsoft.com/office/drawing/2014/main" id="{AB17E6CE-0FD5-401F-8A5D-1B362F1E5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1284288"/>
              <a:ext cx="101600" cy="101600"/>
            </a:xfrm>
            <a:custGeom>
              <a:avLst/>
              <a:gdLst/>
              <a:ahLst/>
              <a:cxnLst>
                <a:cxn ang="0">
                  <a:pos x="60" y="26"/>
                </a:cxn>
                <a:cxn ang="0">
                  <a:pos x="38" y="4"/>
                </a:cxn>
                <a:cxn ang="0">
                  <a:pos x="38" y="4"/>
                </a:cxn>
                <a:cxn ang="0">
                  <a:pos x="32" y="2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2" y="2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0" y="20"/>
                </a:cxn>
                <a:cxn ang="0">
                  <a:pos x="44" y="64"/>
                </a:cxn>
                <a:cxn ang="0">
                  <a:pos x="60" y="48"/>
                </a:cxn>
                <a:cxn ang="0">
                  <a:pos x="60" y="48"/>
                </a:cxn>
                <a:cxn ang="0">
                  <a:pos x="60" y="48"/>
                </a:cxn>
                <a:cxn ang="0">
                  <a:pos x="62" y="42"/>
                </a:cxn>
                <a:cxn ang="0">
                  <a:pos x="64" y="38"/>
                </a:cxn>
                <a:cxn ang="0">
                  <a:pos x="64" y="38"/>
                </a:cxn>
                <a:cxn ang="0">
                  <a:pos x="62" y="32"/>
                </a:cxn>
                <a:cxn ang="0">
                  <a:pos x="60" y="26"/>
                </a:cxn>
                <a:cxn ang="0">
                  <a:pos x="60" y="26"/>
                </a:cxn>
              </a:cxnLst>
              <a:rect l="0" t="0" r="r" b="b"/>
              <a:pathLst>
                <a:path w="64" h="64">
                  <a:moveTo>
                    <a:pt x="60" y="26"/>
                  </a:moveTo>
                  <a:lnTo>
                    <a:pt x="38" y="4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0" y="20"/>
                  </a:lnTo>
                  <a:lnTo>
                    <a:pt x="44" y="6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2" y="42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2" y="32"/>
                  </a:lnTo>
                  <a:lnTo>
                    <a:pt x="60" y="26"/>
                  </a:lnTo>
                  <a:lnTo>
                    <a:pt x="60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80">
              <a:extLst>
                <a:ext uri="{FF2B5EF4-FFF2-40B4-BE49-F238E27FC236}">
                  <a16:creationId xmlns:a16="http://schemas.microsoft.com/office/drawing/2014/main" id="{8B856D9D-C2DF-48B6-BAA1-BF5DFF4B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538" y="1589088"/>
              <a:ext cx="76200" cy="76200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8" y="44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8"/>
                </a:cxn>
                <a:cxn ang="0">
                  <a:pos x="44" y="48"/>
                </a:cxn>
              </a:cxnLst>
              <a:rect l="0" t="0" r="r" b="b"/>
              <a:pathLst>
                <a:path w="48" h="48">
                  <a:moveTo>
                    <a:pt x="44" y="48"/>
                  </a:moveTo>
                  <a:lnTo>
                    <a:pt x="48" y="4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8"/>
                  </a:lnTo>
                  <a:lnTo>
                    <a:pt x="44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81">
              <a:extLst>
                <a:ext uri="{FF2B5EF4-FFF2-40B4-BE49-F238E27FC236}">
                  <a16:creationId xmlns:a16="http://schemas.microsoft.com/office/drawing/2014/main" id="{71BBA0DC-77EB-445F-AF48-E89BF6994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1335088"/>
              <a:ext cx="304800" cy="304800"/>
            </a:xfrm>
            <a:custGeom>
              <a:avLst/>
              <a:gdLst/>
              <a:ahLst/>
              <a:cxnLst>
                <a:cxn ang="0">
                  <a:pos x="0" y="148"/>
                </a:cxn>
                <a:cxn ang="0">
                  <a:pos x="44" y="192"/>
                </a:cxn>
                <a:cxn ang="0">
                  <a:pos x="192" y="44"/>
                </a:cxn>
                <a:cxn ang="0">
                  <a:pos x="148" y="0"/>
                </a:cxn>
                <a:cxn ang="0">
                  <a:pos x="0" y="148"/>
                </a:cxn>
              </a:cxnLst>
              <a:rect l="0" t="0" r="r" b="b"/>
              <a:pathLst>
                <a:path w="192" h="192">
                  <a:moveTo>
                    <a:pt x="0" y="148"/>
                  </a:moveTo>
                  <a:lnTo>
                    <a:pt x="44" y="192"/>
                  </a:lnTo>
                  <a:lnTo>
                    <a:pt x="192" y="44"/>
                  </a:lnTo>
                  <a:lnTo>
                    <a:pt x="148" y="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B62A9A70-B374-464E-917A-998409129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307" y="1806881"/>
            <a:ext cx="4396193" cy="37013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28ACCC0-83DA-41B7-A295-AC19FA8DFB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8714" y="1872049"/>
            <a:ext cx="2986974" cy="363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669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74645-3938-4743-8DCF-855F7502D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Technique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71D43D-BAB0-46A1-9AEB-73DBCBA47C19}"/>
              </a:ext>
            </a:extLst>
          </p:cNvPr>
          <p:cNvSpPr txBox="1"/>
          <p:nvPr/>
        </p:nvSpPr>
        <p:spPr>
          <a:xfrm>
            <a:off x="1315369" y="4014153"/>
            <a:ext cx="9884445" cy="189134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The R squared value reflects the fit of the model, scale from 0 to 1. All of them seem like strong fits</a:t>
            </a: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Minimal Root Mean Squared error</a:t>
            </a: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Random forest generates the best performance, based on training and testing data</a:t>
            </a:r>
          </a:p>
          <a:p>
            <a:pPr algn="l">
              <a:spcAft>
                <a:spcPts val="600"/>
              </a:spcAft>
            </a:pPr>
            <a:endParaRPr lang="en-US" sz="1500" b="1" dirty="0">
              <a:solidFill>
                <a:schemeClr val="tx2"/>
              </a:solidFill>
            </a:endParaRPr>
          </a:p>
          <a:p>
            <a:pPr algn="l">
              <a:spcAft>
                <a:spcPts val="600"/>
              </a:spcAft>
            </a:pPr>
            <a:r>
              <a:rPr lang="en-US" sz="1500" b="1" dirty="0">
                <a:solidFill>
                  <a:schemeClr val="tx2"/>
                </a:solidFill>
              </a:rPr>
              <a:t>Cross validation yields strong results as wel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3DD33F-7C2F-433F-8FC2-304B292CCC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4730" y="965200"/>
            <a:ext cx="6569110" cy="25155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A338CBE-A3C8-42D4-9D62-3F1582BFD3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5369" y="3429000"/>
            <a:ext cx="6355431" cy="60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17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USED" val="KPMGFONT"/>
  <p:tag name="CREATEDBY" val="Global PowerPoint Toolbar"/>
  <p:tag name="TOOLBARVERSION" val="5.30a"/>
  <p:tag name="TYPE" val="ScreenWide"/>
  <p:tag name="KEYWORD" val="SCREENWIDE"/>
  <p:tag name="TEMPLATEVERSION" val="17/07/2017 11:56: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NLvUuRFy_N_coTnn3_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CLIENT_LOGO_SHAPE" val="TRUE"/>
</p:tagLst>
</file>

<file path=ppt/theme/theme1.xml><?xml version="1.0" encoding="utf-8"?>
<a:theme xmlns:a="http://schemas.openxmlformats.org/drawingml/2006/main" name="KPMG Widescreen [16:9] Feb 2022">
  <a:themeElements>
    <a:clrScheme name="Custom Option">
      <a:dk1>
        <a:srgbClr val="000000"/>
      </a:dk1>
      <a:lt1>
        <a:sysClr val="window" lastClr="FFFFFF"/>
      </a:lt1>
      <a:dk2>
        <a:srgbClr val="00338D"/>
      </a:dk2>
      <a:lt2>
        <a:srgbClr val="ACEAFF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1E49E2"/>
      </a:hlink>
      <a:folHlink>
        <a:srgbClr val="098E80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">
      <a:srgbClr val="1E49E2"/>
    </a:custClr>
    <a:custClr name="Pacific Blue">
      <a:srgbClr val="00B8F5"/>
    </a:custClr>
    <a:custClr name="Purple">
      <a:srgbClr val="7213EA"/>
    </a:custClr>
    <a:custClr name="Dark Blue">
      <a:srgbClr val="0C233C"/>
    </a:custClr>
    <a:custClr name="Light Blue">
      <a:srgbClr val="ACEAFF"/>
    </a:custClr>
    <a:custClr name="Pink">
      <a:srgbClr val="FD349C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98E7E"/>
    </a:custClr>
    <a:custClr name="Green">
      <a:srgbClr val="00C0AE"/>
    </a:custClr>
    <a:custClr name="Light Green">
      <a:srgbClr val="63EBDA"/>
    </a:custClr>
    <a:custClr name="Blank">
      <a:srgbClr val="FFFFFF"/>
    </a:custClr>
    <a:custClr name="Blank">
      <a:srgbClr val="FFFFFF"/>
    </a:custClr>
    <a:custClr name="Gray 1">
      <a:srgbClr val="333333"/>
    </a:custClr>
    <a:custClr name="Gray 2">
      <a:srgbClr val="666666"/>
    </a:custClr>
    <a:custClr name="Gray 3">
      <a:srgbClr val="989898"/>
    </a:custClr>
    <a:custClr name="Gray 4">
      <a:srgbClr val="B2B2B2"/>
    </a:custClr>
    <a:custClr name="Gray 5">
      <a:srgbClr val="E5E5E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KPMG Widescreen Standard Template.potx" id="{383F1974-0399-428C-9939-D1E0A82C8A69}" vid="{3A2833AF-76FB-43DE-A3D4-20538A70572E}"/>
    </a:ext>
  </a:extLst>
</a:theme>
</file>

<file path=ppt/theme/theme2.xml><?xml version="1.0" encoding="utf-8"?>
<a:theme xmlns:a="http://schemas.openxmlformats.org/drawingml/2006/main" name="1_KPMG Widescreen [16:9] Feb 2022">
  <a:themeElements>
    <a:clrScheme name="Custom Option">
      <a:dk1>
        <a:srgbClr val="000000"/>
      </a:dk1>
      <a:lt1>
        <a:sysClr val="window" lastClr="FFFFFF"/>
      </a:lt1>
      <a:dk2>
        <a:srgbClr val="00338D"/>
      </a:dk2>
      <a:lt2>
        <a:srgbClr val="ACEAFF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1E49E2"/>
      </a:hlink>
      <a:folHlink>
        <a:srgbClr val="098E80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">
      <a:srgbClr val="1E49E2"/>
    </a:custClr>
    <a:custClr name="Pacific Blue">
      <a:srgbClr val="00B8F5"/>
    </a:custClr>
    <a:custClr name="Purple">
      <a:srgbClr val="7213EA"/>
    </a:custClr>
    <a:custClr name="Dark Blue">
      <a:srgbClr val="0C233C"/>
    </a:custClr>
    <a:custClr name="Light Blue">
      <a:srgbClr val="ACEAFF"/>
    </a:custClr>
    <a:custClr name="Pink">
      <a:srgbClr val="FD349C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98E7E"/>
    </a:custClr>
    <a:custClr name="Green">
      <a:srgbClr val="00C0AE"/>
    </a:custClr>
    <a:custClr name="Light Green">
      <a:srgbClr val="63EBDA"/>
    </a:custClr>
    <a:custClr name="Blank">
      <a:srgbClr val="FFFFFF"/>
    </a:custClr>
    <a:custClr name="Blank">
      <a:srgbClr val="FFFFFF"/>
    </a:custClr>
    <a:custClr name="Gray 1">
      <a:srgbClr val="333333"/>
    </a:custClr>
    <a:custClr name="Gray 2">
      <a:srgbClr val="666666"/>
    </a:custClr>
    <a:custClr name="Gray 3">
      <a:srgbClr val="989898"/>
    </a:custClr>
    <a:custClr name="Gray 4">
      <a:srgbClr val="B2B2B2"/>
    </a:custClr>
    <a:custClr name="Gray 5">
      <a:srgbClr val="E5E5E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KPMG Widescreen Standard Template.potx" id="{383F1974-0399-428C-9939-D1E0A82C8A69}" vid="{3A2833AF-76FB-43DE-A3D4-20538A70572E}"/>
    </a:ext>
  </a:extLst>
</a:theme>
</file>

<file path=ppt/theme/theme3.xml><?xml version="1.0" encoding="utf-8"?>
<a:theme xmlns:a="http://schemas.openxmlformats.org/drawingml/2006/main" name="5_TEVA_IT_PPT_template_June 2019">
  <a:themeElements>
    <a:clrScheme name="Teva Swoosh_New Colors">
      <a:dk1>
        <a:srgbClr val="424242"/>
      </a:dk1>
      <a:lt1>
        <a:sysClr val="window" lastClr="FFFFFF"/>
      </a:lt1>
      <a:dk2>
        <a:srgbClr val="3C7E79"/>
      </a:dk2>
      <a:lt2>
        <a:srgbClr val="FFFFFF"/>
      </a:lt2>
      <a:accent1>
        <a:srgbClr val="AFCB37"/>
      </a:accent1>
      <a:accent2>
        <a:srgbClr val="00A03B"/>
      </a:accent2>
      <a:accent3>
        <a:srgbClr val="3C7E79"/>
      </a:accent3>
      <a:accent4>
        <a:srgbClr val="005670"/>
      </a:accent4>
      <a:accent5>
        <a:srgbClr val="AA198D"/>
      </a:accent5>
      <a:accent6>
        <a:srgbClr val="FB3449"/>
      </a:accent6>
      <a:hlink>
        <a:srgbClr val="005670"/>
      </a:hlink>
      <a:folHlink>
        <a:srgbClr val="AFCB3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>
        <a:spAutoFit/>
      </a:bodyPr>
      <a:lstStyle>
        <a:defPPr marL="0" marR="0" indent="-2857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>
            <a:prstClr val="white"/>
          </a:buClr>
          <a:buSzTx/>
          <a:buFontTx/>
          <a:buNone/>
          <a:tabLst/>
          <a:defRPr kumimoji="0" sz="1050" b="1" i="0" u="none" strike="noStrike" kern="1200" cap="none" spc="0" normalizeH="0" baseline="0" noProof="0" dirty="0">
            <a:ln>
              <a:noFill/>
            </a:ln>
            <a:solidFill>
              <a:srgbClr val="00338D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54978B57-5385-4442-8ABE-D0E7D9BCDD82}" vid="{AB9C9FD2-0B8F-4D8E-AD5B-A03025396FEC}"/>
    </a:ext>
  </a:extLst>
</a:theme>
</file>

<file path=ppt/theme/theme5.xml><?xml version="1.0" encoding="utf-8"?>
<a:theme xmlns:a="http://schemas.openxmlformats.org/drawingml/2006/main" name="2_KPMG Widescreen [16:9] Feb 2022">
  <a:themeElements>
    <a:clrScheme name="Custom Option">
      <a:dk1>
        <a:srgbClr val="000000"/>
      </a:dk1>
      <a:lt1>
        <a:sysClr val="window" lastClr="FFFFFF"/>
      </a:lt1>
      <a:dk2>
        <a:srgbClr val="00338D"/>
      </a:dk2>
      <a:lt2>
        <a:srgbClr val="ACEAFF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1E49E2"/>
      </a:hlink>
      <a:folHlink>
        <a:srgbClr val="098E80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">
      <a:srgbClr val="1E49E2"/>
    </a:custClr>
    <a:custClr name="Pacific Blue">
      <a:srgbClr val="00B8F5"/>
    </a:custClr>
    <a:custClr name="Purple">
      <a:srgbClr val="7213EA"/>
    </a:custClr>
    <a:custClr name="Dark Blue">
      <a:srgbClr val="0C233C"/>
    </a:custClr>
    <a:custClr name="Light Blue">
      <a:srgbClr val="ACEAFF"/>
    </a:custClr>
    <a:custClr name="Pink">
      <a:srgbClr val="FD349C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98E7E"/>
    </a:custClr>
    <a:custClr name="Green">
      <a:srgbClr val="00C0AE"/>
    </a:custClr>
    <a:custClr name="Light Green">
      <a:srgbClr val="63EBDA"/>
    </a:custClr>
    <a:custClr name="Blank">
      <a:srgbClr val="FFFFFF"/>
    </a:custClr>
    <a:custClr name="Blank">
      <a:srgbClr val="FFFFFF"/>
    </a:custClr>
    <a:custClr name="Gray 1">
      <a:srgbClr val="333333"/>
    </a:custClr>
    <a:custClr name="Gray 2">
      <a:srgbClr val="666666"/>
    </a:custClr>
    <a:custClr name="Gray 3">
      <a:srgbClr val="989898"/>
    </a:custClr>
    <a:custClr name="Gray 4">
      <a:srgbClr val="B2B2B2"/>
    </a:custClr>
    <a:custClr name="Gray 5">
      <a:srgbClr val="E5E5E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KPMG Widescreen Standard Template.potx" id="{383F1974-0399-428C-9939-D1E0A82C8A69}" vid="{3A2833AF-76FB-43DE-A3D4-20538A70572E}"/>
    </a:ext>
  </a:extLst>
</a:theme>
</file>

<file path=ppt/theme/theme6.xml><?xml version="1.0" encoding="utf-8"?>
<a:theme xmlns:a="http://schemas.openxmlformats.org/drawingml/2006/main" name="4_KPMG Widescreen [16:9] Feb 2022">
  <a:themeElements>
    <a:clrScheme name="Custom Option">
      <a:dk1>
        <a:srgbClr val="000000"/>
      </a:dk1>
      <a:lt1>
        <a:sysClr val="window" lastClr="FFFFFF"/>
      </a:lt1>
      <a:dk2>
        <a:srgbClr val="00338D"/>
      </a:dk2>
      <a:lt2>
        <a:srgbClr val="ACEAFF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1E49E2"/>
      </a:hlink>
      <a:folHlink>
        <a:srgbClr val="098E80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">
      <a:srgbClr val="1E49E2"/>
    </a:custClr>
    <a:custClr name="Pacific Blue">
      <a:srgbClr val="00B8F5"/>
    </a:custClr>
    <a:custClr name="Purple">
      <a:srgbClr val="7213EA"/>
    </a:custClr>
    <a:custClr name="Dark Blue">
      <a:srgbClr val="0C233C"/>
    </a:custClr>
    <a:custClr name="Light Blue">
      <a:srgbClr val="ACEAFF"/>
    </a:custClr>
    <a:custClr name="Pink">
      <a:srgbClr val="FD349C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98E7E"/>
    </a:custClr>
    <a:custClr name="Green">
      <a:srgbClr val="00C0AE"/>
    </a:custClr>
    <a:custClr name="Light Green">
      <a:srgbClr val="63EBDA"/>
    </a:custClr>
    <a:custClr name="Blank">
      <a:srgbClr val="FFFFFF"/>
    </a:custClr>
    <a:custClr name="Blank">
      <a:srgbClr val="FFFFFF"/>
    </a:custClr>
    <a:custClr name="Gray 1">
      <a:srgbClr val="333333"/>
    </a:custClr>
    <a:custClr name="Gray 2">
      <a:srgbClr val="666666"/>
    </a:custClr>
    <a:custClr name="Gray 3">
      <a:srgbClr val="989898"/>
    </a:custClr>
    <a:custClr name="Gray 4">
      <a:srgbClr val="B2B2B2"/>
    </a:custClr>
    <a:custClr name="Gray 5">
      <a:srgbClr val="E5E5E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KPMG Widescreen Standard Template.potx" id="{383F1974-0399-428C-9939-D1E0A82C8A69}" vid="{3A2833AF-76FB-43DE-A3D4-20538A70572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A1B4B7F32ECA44B01C4081CED7E871" ma:contentTypeVersion="6" ma:contentTypeDescription="Create a new document." ma:contentTypeScope="" ma:versionID="cf10cc724d8718de1cecc72b67aa862b">
  <xsd:schema xmlns:xsd="http://www.w3.org/2001/XMLSchema" xmlns:xs="http://www.w3.org/2001/XMLSchema" xmlns:p="http://schemas.microsoft.com/office/2006/metadata/properties" xmlns:ns2="325a1219-d311-446c-86c8-5465499ab3aa" xmlns:ns3="b9dfa88d-bffe-409f-baab-0ee939bf1ab3" targetNamespace="http://schemas.microsoft.com/office/2006/metadata/properties" ma:root="true" ma:fieldsID="255aa40b223fa736b90b79b9e1e3c396" ns2:_="" ns3:_="">
    <xsd:import namespace="325a1219-d311-446c-86c8-5465499ab3aa"/>
    <xsd:import namespace="b9dfa88d-bffe-409f-baab-0ee939bf1a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5a1219-d311-446c-86c8-5465499ab3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dfa88d-bffe-409f-baab-0ee939bf1ab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AAA0FE-2ED2-4628-8F10-846064C347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114E0E-1749-4865-8C90-86342CD36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5a1219-d311-446c-86c8-5465499ab3aa"/>
    <ds:schemaRef ds:uri="b9dfa88d-bffe-409f-baab-0ee939bf1a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198139A-FDA3-44F6-9864-4D12A8E29224}">
  <ds:schemaRefs>
    <ds:schemaRef ds:uri="http://purl.org/dc/dcmitype/"/>
    <ds:schemaRef ds:uri="b9dfa88d-bffe-409f-baab-0ee939bf1ab3"/>
    <ds:schemaRef ds:uri="325a1219-d311-446c-86c8-5465499ab3aa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PMG Widescreen Standard Template</Template>
  <TotalTime>0</TotalTime>
  <Words>1031</Words>
  <Application>Microsoft Office PowerPoint</Application>
  <PresentationFormat>Widescreen</PresentationFormat>
  <Paragraphs>152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KPMG Bold</vt:lpstr>
      <vt:lpstr>Teva Sans</vt:lpstr>
      <vt:lpstr>KPMG Widescreen [16:9] Feb 2022</vt:lpstr>
      <vt:lpstr>1_KPMG Widescreen [16:9] Feb 2022</vt:lpstr>
      <vt:lpstr>5_TEVA_IT_PPT_template_June 2019</vt:lpstr>
      <vt:lpstr>3_KPMG Widescreen [16:9] Feb 2022</vt:lpstr>
      <vt:lpstr>2_KPMG Widescreen [16:9] Feb 2022</vt:lpstr>
      <vt:lpstr>4_KPMG Widescreen [16:9] Feb 2022</vt:lpstr>
      <vt:lpstr>think-cell Slide</vt:lpstr>
      <vt:lpstr>Capstone  Used Car Prices  Final Project</vt:lpstr>
      <vt:lpstr>Agenda</vt:lpstr>
      <vt:lpstr>Executive Summary</vt:lpstr>
      <vt:lpstr>Business Problem Overview &amp; Solution Approach</vt:lpstr>
      <vt:lpstr>Data Pre-Processing </vt:lpstr>
      <vt:lpstr>Exploratory Analysis Results - Numerical</vt:lpstr>
      <vt:lpstr>Exploratory Analysis Results - Categorical</vt:lpstr>
      <vt:lpstr>Linear Regression - Insights</vt:lpstr>
      <vt:lpstr>Different Techniques </vt:lpstr>
      <vt:lpstr>Random Forest with Tuned Hyperparameters</vt:lpstr>
      <vt:lpstr>Impact of Model Finding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IBP &amp; SAP Analytical cloud (Demand, S&amp;OP &amp; Revenue)</dc:title>
  <dc:creator/>
  <cp:lastModifiedBy/>
  <cp:revision>3</cp:revision>
  <dcterms:created xsi:type="dcterms:W3CDTF">2023-02-21T21:48:47Z</dcterms:created>
  <dcterms:modified xsi:type="dcterms:W3CDTF">2023-04-14T22:36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12A1B4B7F32ECA44B01C4081CED7E871</vt:lpwstr>
  </property>
</Properties>
</file>